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tags/tag21.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2.xml" ContentType="application/vnd.openxmlformats-officedocument.presentationml.tags+xml"/>
  <Override PartName="/ppt/notesSlides/notesSlide27.xml" ContentType="application/vnd.openxmlformats-officedocument.presentationml.notesSlide+xml"/>
  <Override PartName="/ppt/tags/tag23.xml" ContentType="application/vnd.openxmlformats-officedocument.presentationml.tags+xml"/>
  <Override PartName="/ppt/notesSlides/notesSlide28.xml" ContentType="application/vnd.openxmlformats-officedocument.presentationml.notesSlide+xml"/>
  <Override PartName="/ppt/tags/tag24.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25.xml" ContentType="application/vnd.openxmlformats-officedocument.presentationml.tags+xml"/>
  <Override PartName="/ppt/notesSlides/notesSlide31.xml" ContentType="application/vnd.openxmlformats-officedocument.presentationml.notesSlide+xml"/>
  <Override PartName="/ppt/tags/tag26.xml" ContentType="application/vnd.openxmlformats-officedocument.presentationml.tags+xml"/>
  <Override PartName="/ppt/notesSlides/notesSlide32.xml" ContentType="application/vnd.openxmlformats-officedocument.presentationml.notesSlide+xml"/>
  <Override PartName="/ppt/tags/tag27.xml" ContentType="application/vnd.openxmlformats-officedocument.presentationml.tags+xml"/>
  <Override PartName="/ppt/notesSlides/notesSlide33.xml" ContentType="application/vnd.openxmlformats-officedocument.presentationml.notesSlide+xml"/>
  <Override PartName="/ppt/tags/tag28.xml" ContentType="application/vnd.openxmlformats-officedocument.presentationml.tags+xml"/>
  <Override PartName="/ppt/notesSlides/notesSlide34.xml" ContentType="application/vnd.openxmlformats-officedocument.presentationml.notesSlide+xml"/>
  <Override PartName="/ppt/tags/tag29.xml" ContentType="application/vnd.openxmlformats-officedocument.presentationml.tags+xml"/>
  <Override PartName="/ppt/notesSlides/notesSlide35.xml" ContentType="application/vnd.openxmlformats-officedocument.presentationml.notesSlide+xml"/>
  <Override PartName="/ppt/tags/tag30.xml" ContentType="application/vnd.openxmlformats-officedocument.presentationml.tags+xml"/>
  <Override PartName="/ppt/notesSlides/notesSlide36.xml" ContentType="application/vnd.openxmlformats-officedocument.presentationml.notesSlide+xml"/>
  <Override PartName="/ppt/tags/tag31.xml" ContentType="application/vnd.openxmlformats-officedocument.presentationml.tags+xml"/>
  <Override PartName="/ppt/notesSlides/notesSlide37.xml" ContentType="application/vnd.openxmlformats-officedocument.presentationml.notesSlide+xml"/>
  <Override PartName="/ppt/tags/tag32.xml" ContentType="application/vnd.openxmlformats-officedocument.presentationml.tags+xml"/>
  <Override PartName="/ppt/notesSlides/notesSlide38.xml" ContentType="application/vnd.openxmlformats-officedocument.presentationml.notesSlide+xml"/>
  <Override PartName="/ppt/tags/tag33.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34.xml" ContentType="application/vnd.openxmlformats-officedocument.presentationml.tags+xml"/>
  <Override PartName="/ppt/notesSlides/notesSlide43.xml" ContentType="application/vnd.openxmlformats-officedocument.presentationml.notesSlide+xml"/>
  <Override PartName="/ppt/tags/tag35.xml" ContentType="application/vnd.openxmlformats-officedocument.presentationml.tags+xml"/>
  <Override PartName="/ppt/notesSlides/notesSlide44.xml" ContentType="application/vnd.openxmlformats-officedocument.presentationml.notesSlide+xml"/>
  <Override PartName="/ppt/tags/tag36.xml" ContentType="application/vnd.openxmlformats-officedocument.presentationml.tags+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49" strictFirstAndLastChars="0" saveSubsetFonts="1" autoCompressPictures="0">
  <p:sldMasterIdLst>
    <p:sldMasterId id="2147483648" r:id="rId1"/>
    <p:sldMasterId id="2147483654" r:id="rId2"/>
  </p:sldMasterIdLst>
  <p:notesMasterIdLst>
    <p:notesMasterId r:id="rId48"/>
  </p:notesMasterIdLst>
  <p:sldIdLst>
    <p:sldId id="257" r:id="rId3"/>
    <p:sldId id="258" r:id="rId4"/>
    <p:sldId id="259" r:id="rId5"/>
    <p:sldId id="260" r:id="rId6"/>
    <p:sldId id="261" r:id="rId7"/>
    <p:sldId id="263" r:id="rId8"/>
    <p:sldId id="264" r:id="rId9"/>
    <p:sldId id="265" r:id="rId10"/>
    <p:sldId id="266" r:id="rId11"/>
    <p:sldId id="267" r:id="rId12"/>
    <p:sldId id="268" r:id="rId13"/>
    <p:sldId id="269" r:id="rId14"/>
    <p:sldId id="270" r:id="rId15"/>
    <p:sldId id="272" r:id="rId16"/>
    <p:sldId id="273" r:id="rId17"/>
    <p:sldId id="274" r:id="rId18"/>
    <p:sldId id="275" r:id="rId19"/>
    <p:sldId id="276" r:id="rId20"/>
    <p:sldId id="277" r:id="rId21"/>
    <p:sldId id="278" r:id="rId22"/>
    <p:sldId id="279" r:id="rId23"/>
    <p:sldId id="280" r:id="rId24"/>
    <p:sldId id="281" r:id="rId25"/>
    <p:sldId id="282" r:id="rId26"/>
    <p:sldId id="283" r:id="rId27"/>
    <p:sldId id="284" r:id="rId28"/>
    <p:sldId id="285" r:id="rId29"/>
    <p:sldId id="286" r:id="rId30"/>
    <p:sldId id="287" r:id="rId31"/>
    <p:sldId id="288" r:id="rId32"/>
    <p:sldId id="289" r:id="rId33"/>
    <p:sldId id="290" r:id="rId34"/>
    <p:sldId id="291" r:id="rId35"/>
    <p:sldId id="292" r:id="rId36"/>
    <p:sldId id="293" r:id="rId37"/>
    <p:sldId id="294" r:id="rId38"/>
    <p:sldId id="295" r:id="rId39"/>
    <p:sldId id="296" r:id="rId40"/>
    <p:sldId id="297" r:id="rId41"/>
    <p:sldId id="305" r:id="rId42"/>
    <p:sldId id="306" r:id="rId43"/>
    <p:sldId id="307" r:id="rId44"/>
    <p:sldId id="308" r:id="rId45"/>
    <p:sldId id="309" r:id="rId46"/>
    <p:sldId id="310" r:id="rId47"/>
  </p:sldIdLst>
  <p:sldSz cx="9144000" cy="6858000" type="screen4x3"/>
  <p:notesSz cx="6735763" cy="9866313"/>
  <p:custDataLst>
    <p:tags r:id="rId49"/>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3" pos="1857" userDrawn="1">
          <p15:clr>
            <a:srgbClr val="A4A3A4"/>
          </p15:clr>
        </p15:guide>
        <p15:guide id="4" pos="839" userDrawn="1">
          <p15:clr>
            <a:srgbClr val="A4A3A4"/>
          </p15:clr>
        </p15:guide>
        <p15:guide id="5" pos="3901" userDrawn="1">
          <p15:clr>
            <a:srgbClr val="A4A3A4"/>
          </p15:clr>
        </p15:guide>
        <p15:guide id="6" pos="4921" userDrawn="1">
          <p15:clr>
            <a:srgbClr val="A4A3A4"/>
          </p15:clr>
        </p15:guide>
        <p15:guide id="7" pos="3107" userDrawn="1">
          <p15:clr>
            <a:srgbClr val="A4A3A4"/>
          </p15:clr>
        </p15:guide>
        <p15:guide id="8" pos="2993" userDrawn="1">
          <p15:clr>
            <a:srgbClr val="A4A3A4"/>
          </p15:clr>
        </p15:guide>
        <p15:guide id="9" pos="1633" userDrawn="1">
          <p15:clr>
            <a:srgbClr val="A4A3A4"/>
          </p15:clr>
        </p15:guide>
        <p15:guide id="10" pos="3334" userDrawn="1">
          <p15:clr>
            <a:srgbClr val="A4A3A4"/>
          </p15:clr>
        </p15:guide>
        <p15:guide id="11" pos="4127" userDrawn="1">
          <p15:clr>
            <a:srgbClr val="A4A3A4"/>
          </p15:clr>
        </p15:guide>
        <p15:guide id="12" pos="4626" userDrawn="1">
          <p15:clr>
            <a:srgbClr val="A4A3A4"/>
          </p15:clr>
        </p15:guide>
        <p15:guide id="13" pos="4694" userDrawn="1">
          <p15:clr>
            <a:srgbClr val="A4A3A4"/>
          </p15:clr>
        </p15:guide>
        <p15:guide id="14" pos="1406" userDrawn="1">
          <p15:clr>
            <a:srgbClr val="A4A3A4"/>
          </p15:clr>
        </p15:guide>
        <p15:guide id="15" pos="2426" userDrawn="1">
          <p15:clr>
            <a:srgbClr val="A4A3A4"/>
          </p15:clr>
        </p15:guide>
        <p15:guide id="16" pos="3447" userDrawn="1">
          <p15:clr>
            <a:srgbClr val="A4A3A4"/>
          </p15:clr>
        </p15:guide>
        <p15:guide id="17" pos="4469" userDrawn="1">
          <p15:clr>
            <a:srgbClr val="A4A3A4"/>
          </p15:clr>
        </p15:guide>
        <p15:guide id="18" orient="horz" pos="1933" userDrawn="1">
          <p15:clr>
            <a:srgbClr val="A4A3A4"/>
          </p15:clr>
        </p15:guide>
        <p15:guide id="19" orient="horz" pos="3453" userDrawn="1">
          <p15:clr>
            <a:srgbClr val="A4A3A4"/>
          </p15:clr>
        </p15:guide>
        <p15:guide id="20" orient="horz" pos="3113" userDrawn="1">
          <p15:clr>
            <a:srgbClr val="A4A3A4"/>
          </p15:clr>
        </p15:guide>
        <p15:guide id="21" orient="horz" pos="1752" userDrawn="1">
          <p15:clr>
            <a:srgbClr val="A4A3A4"/>
          </p15:clr>
        </p15:guide>
      </p15:sldGuideLst>
    </p:ext>
    <p:ext uri="{2D200454-40CA-4A62-9FC3-DE9A4176ACB9}">
      <p15:notes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63" roundtripDataSignature="AMtx7mj8F5wXt/YLrkoUeFhLDZvk06P4aA=="/>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青木　沙絵(853953)社会システムコンサルティング部" initials="青木　沙絵(853953)社会システムコンサルティング部"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1BD85FD-087A-4BF6-AAD6-227F6B3F6105}">
  <a:tblStyle styleId="{B1BD85FD-087A-4BF6-AAD6-227F6B3F6105}"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0" autoAdjust="0"/>
    <p:restoredTop sz="71335" autoAdjust="0"/>
  </p:normalViewPr>
  <p:slideViewPr>
    <p:cSldViewPr snapToGrid="0">
      <p:cViewPr varScale="1">
        <p:scale>
          <a:sx n="70" d="100"/>
          <a:sy n="70" d="100"/>
        </p:scale>
        <p:origin x="2270" y="53"/>
      </p:cViewPr>
      <p:guideLst>
        <p:guide orient="horz" pos="2160"/>
        <p:guide pos="1857"/>
        <p:guide pos="839"/>
        <p:guide pos="3901"/>
        <p:guide pos="4921"/>
        <p:guide pos="3107"/>
        <p:guide pos="2993"/>
        <p:guide pos="1633"/>
        <p:guide pos="3334"/>
        <p:guide pos="4127"/>
        <p:guide pos="4626"/>
        <p:guide pos="4694"/>
        <p:guide pos="1406"/>
        <p:guide pos="2426"/>
        <p:guide pos="3447"/>
        <p:guide pos="4469"/>
        <p:guide orient="horz" pos="1933"/>
        <p:guide orient="horz" pos="3453"/>
        <p:guide orient="horz" pos="3113"/>
        <p:guide orient="horz" pos="1752"/>
      </p:guideLst>
    </p:cSldViewPr>
  </p:slideViewPr>
  <p:notesTextViewPr>
    <p:cViewPr>
      <p:scale>
        <a:sx n="100" d="100"/>
        <a:sy n="100" d="100"/>
      </p:scale>
      <p:origin x="0" y="0"/>
    </p:cViewPr>
  </p:notesTextViewPr>
  <p:sorterViewPr>
    <p:cViewPr>
      <p:scale>
        <a:sx n="100" d="100"/>
        <a:sy n="100" d="100"/>
      </p:scale>
      <p:origin x="0" y="-12355"/>
    </p:cViewPr>
  </p:sorterViewPr>
  <p:notesViewPr>
    <p:cSldViewPr snapToGrid="0">
      <p:cViewPr>
        <p:scale>
          <a:sx n="50" d="100"/>
          <a:sy n="50" d="100"/>
        </p:scale>
        <p:origin x="3499" y="65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63" Type="http://customschemas.google.com/relationships/presentationmetadata" Target="metadata"/><Relationship Id="rId68"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6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65"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notesMaster" Target="notesMasters/notesMaster1.xml"/><Relationship Id="rId64" Type="http://schemas.openxmlformats.org/officeDocument/2006/relationships/commentAuthors" Target="commentAuthors.xml"/><Relationship Id="rId8" Type="http://schemas.openxmlformats.org/officeDocument/2006/relationships/slide" Target="slides/slide6.xml"/><Relationship Id="rId3"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1"/>
            <a:ext cx="2918897" cy="494972"/>
          </a:xfrm>
          <a:prstGeom prst="rect">
            <a:avLst/>
          </a:prstGeom>
          <a:noFill/>
          <a:ln>
            <a:noFill/>
          </a:ln>
        </p:spPr>
        <p:txBody>
          <a:bodyPr spcFirstLastPara="1" wrap="square" lIns="83125" tIns="41550" rIns="83125" bIns="41550" anchor="t" anchorCtr="0">
            <a:noAutofit/>
          </a:bodyPr>
          <a:lstStyle>
            <a:lvl1pPr marR="0" lvl="0" algn="l" rtl="0">
              <a:spcBef>
                <a:spcPts val="0"/>
              </a:spcBef>
              <a:spcAft>
                <a:spcPts val="0"/>
              </a:spcAft>
              <a:buSzPts val="1400"/>
              <a:buNone/>
              <a:defRPr sz="11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632"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632"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632"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632"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632"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632"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632"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632" b="0" i="0" u="none" strike="noStrike" cap="none">
                <a:solidFill>
                  <a:schemeClr val="dk1"/>
                </a:solidFill>
                <a:latin typeface="Arial"/>
                <a:ea typeface="Arial"/>
                <a:cs typeface="Arial"/>
                <a:sym typeface="Arial"/>
              </a:defRPr>
            </a:lvl9pPr>
          </a:lstStyle>
          <a:p>
            <a:endParaRPr/>
          </a:p>
        </p:txBody>
      </p:sp>
      <p:sp>
        <p:nvSpPr>
          <p:cNvPr id="4" name="Google Shape;4;n"/>
          <p:cNvSpPr txBox="1">
            <a:spLocks noGrp="1"/>
          </p:cNvSpPr>
          <p:nvPr>
            <p:ph type="dt" idx="10"/>
          </p:nvPr>
        </p:nvSpPr>
        <p:spPr>
          <a:xfrm>
            <a:off x="3815868" y="1"/>
            <a:ext cx="2917897" cy="494972"/>
          </a:xfrm>
          <a:prstGeom prst="rect">
            <a:avLst/>
          </a:prstGeom>
          <a:noFill/>
          <a:ln>
            <a:noFill/>
          </a:ln>
        </p:spPr>
        <p:txBody>
          <a:bodyPr spcFirstLastPara="1" wrap="square" lIns="83125" tIns="41550" rIns="83125" bIns="41550" anchor="t" anchorCtr="0">
            <a:noAutofit/>
          </a:bodyPr>
          <a:lstStyle>
            <a:lvl1pPr marR="0" lvl="0" algn="r" rtl="0">
              <a:spcBef>
                <a:spcPts val="0"/>
              </a:spcBef>
              <a:spcAft>
                <a:spcPts val="0"/>
              </a:spcAft>
              <a:buSzPts val="1400"/>
              <a:buNone/>
              <a:defRPr sz="11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632"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632"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632"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632"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632"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632"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632"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632" b="0" i="0" u="none" strike="noStrike" cap="none">
                <a:solidFill>
                  <a:schemeClr val="dk1"/>
                </a:solidFill>
                <a:latin typeface="Arial"/>
                <a:ea typeface="Arial"/>
                <a:cs typeface="Arial"/>
                <a:sym typeface="Arial"/>
              </a:defRPr>
            </a:lvl9pPr>
          </a:lstStyle>
          <a:p>
            <a:endParaRPr/>
          </a:p>
        </p:txBody>
      </p:sp>
      <p:sp>
        <p:nvSpPr>
          <p:cNvPr id="5" name="Google Shape;5;n"/>
          <p:cNvSpPr>
            <a:spLocks noGrp="1" noRot="1" noChangeAspect="1"/>
          </p:cNvSpPr>
          <p:nvPr>
            <p:ph type="sldImg" idx="3"/>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73976" y="4748838"/>
            <a:ext cx="5387811" cy="3885223"/>
          </a:xfrm>
          <a:prstGeom prst="rect">
            <a:avLst/>
          </a:prstGeom>
          <a:noFill/>
          <a:ln>
            <a:noFill/>
          </a:ln>
        </p:spPr>
        <p:txBody>
          <a:bodyPr spcFirstLastPara="1" wrap="square" lIns="83125" tIns="41550" rIns="83125" bIns="41550" anchor="t" anchorCtr="0">
            <a:noAutofit/>
          </a:bodyPr>
          <a:lstStyle>
            <a:lvl1pPr marL="457200" marR="0" lvl="0" indent="-228600" algn="l" rtl="0">
              <a:spcBef>
                <a:spcPts val="0"/>
              </a:spcBef>
              <a:spcAft>
                <a:spcPts val="0"/>
              </a:spcAft>
              <a:buSzPts val="1400"/>
              <a:buNone/>
              <a:defRPr sz="1088" b="0" i="0" u="none" strike="noStrike" cap="none">
                <a:solidFill>
                  <a:schemeClr val="dk1"/>
                </a:solidFill>
                <a:latin typeface="Arial"/>
                <a:ea typeface="Arial"/>
                <a:cs typeface="Arial"/>
                <a:sym typeface="Arial"/>
              </a:defRPr>
            </a:lvl1pPr>
            <a:lvl2pPr marL="914400" marR="0" lvl="1" indent="-228600" algn="l" rtl="0">
              <a:spcBef>
                <a:spcPts val="0"/>
              </a:spcBef>
              <a:spcAft>
                <a:spcPts val="0"/>
              </a:spcAft>
              <a:buSzPts val="1400"/>
              <a:buNone/>
              <a:defRPr sz="1088" b="0" i="0" u="none" strike="noStrike" cap="none">
                <a:solidFill>
                  <a:schemeClr val="dk1"/>
                </a:solidFill>
                <a:latin typeface="Arial"/>
                <a:ea typeface="Arial"/>
                <a:cs typeface="Arial"/>
                <a:sym typeface="Arial"/>
              </a:defRPr>
            </a:lvl2pPr>
            <a:lvl3pPr marL="1371600" marR="0" lvl="2" indent="-228600" algn="l" rtl="0">
              <a:spcBef>
                <a:spcPts val="0"/>
              </a:spcBef>
              <a:spcAft>
                <a:spcPts val="0"/>
              </a:spcAft>
              <a:buSzPts val="1400"/>
              <a:buNone/>
              <a:defRPr sz="1088" b="0" i="0" u="none" strike="noStrike" cap="none">
                <a:solidFill>
                  <a:schemeClr val="dk1"/>
                </a:solidFill>
                <a:latin typeface="Arial"/>
                <a:ea typeface="Arial"/>
                <a:cs typeface="Arial"/>
                <a:sym typeface="Arial"/>
              </a:defRPr>
            </a:lvl3pPr>
            <a:lvl4pPr marL="1828800" marR="0" lvl="3" indent="-228600" algn="l" rtl="0">
              <a:spcBef>
                <a:spcPts val="0"/>
              </a:spcBef>
              <a:spcAft>
                <a:spcPts val="0"/>
              </a:spcAft>
              <a:buSzPts val="1400"/>
              <a:buNone/>
              <a:defRPr sz="1088" b="0" i="0" u="none" strike="noStrike" cap="none">
                <a:solidFill>
                  <a:schemeClr val="dk1"/>
                </a:solidFill>
                <a:latin typeface="Arial"/>
                <a:ea typeface="Arial"/>
                <a:cs typeface="Arial"/>
                <a:sym typeface="Arial"/>
              </a:defRPr>
            </a:lvl4pPr>
            <a:lvl5pPr marL="2286000" marR="0" lvl="4" indent="-228600" algn="l" rtl="0">
              <a:spcBef>
                <a:spcPts val="0"/>
              </a:spcBef>
              <a:spcAft>
                <a:spcPts val="0"/>
              </a:spcAft>
              <a:buSzPts val="1400"/>
              <a:buNone/>
              <a:defRPr sz="1088"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088" b="0" i="0" u="none" strike="noStrike" cap="none">
                <a:solidFill>
                  <a:schemeClr val="dk1"/>
                </a:solidFill>
                <a:latin typeface="Arial"/>
                <a:ea typeface="Arial"/>
                <a:cs typeface="Arial"/>
                <a:sym typeface="Arial"/>
              </a:defRPr>
            </a:lvl6pPr>
            <a:lvl7pPr marL="3200400" marR="0" lvl="6" indent="-228600" algn="l" rtl="0">
              <a:spcBef>
                <a:spcPts val="0"/>
              </a:spcBef>
              <a:spcAft>
                <a:spcPts val="0"/>
              </a:spcAft>
              <a:buSzPts val="1400"/>
              <a:buNone/>
              <a:defRPr sz="1088" b="0" i="0" u="none" strike="noStrike" cap="none">
                <a:solidFill>
                  <a:schemeClr val="dk1"/>
                </a:solidFill>
                <a:latin typeface="Arial"/>
                <a:ea typeface="Arial"/>
                <a:cs typeface="Arial"/>
                <a:sym typeface="Arial"/>
              </a:defRPr>
            </a:lvl7pPr>
            <a:lvl8pPr marL="3657600" marR="0" lvl="7" indent="-228600" algn="l" rtl="0">
              <a:spcBef>
                <a:spcPts val="0"/>
              </a:spcBef>
              <a:spcAft>
                <a:spcPts val="0"/>
              </a:spcAft>
              <a:buSzPts val="1400"/>
              <a:buNone/>
              <a:defRPr sz="1088" b="0" i="0" u="none" strike="noStrike" cap="none">
                <a:solidFill>
                  <a:schemeClr val="dk1"/>
                </a:solidFill>
                <a:latin typeface="Arial"/>
                <a:ea typeface="Arial"/>
                <a:cs typeface="Arial"/>
                <a:sym typeface="Arial"/>
              </a:defRPr>
            </a:lvl8pPr>
            <a:lvl9pPr marL="4114800" marR="0" lvl="8" indent="-228600" algn="l" rtl="0">
              <a:spcBef>
                <a:spcPts val="0"/>
              </a:spcBef>
              <a:spcAft>
                <a:spcPts val="0"/>
              </a:spcAft>
              <a:buSzPts val="1400"/>
              <a:buNone/>
              <a:defRPr sz="1088" b="0" i="0" u="none" strike="noStrike" cap="none">
                <a:solidFill>
                  <a:schemeClr val="dk1"/>
                </a:solidFill>
                <a:latin typeface="Arial"/>
                <a:ea typeface="Arial"/>
                <a:cs typeface="Arial"/>
                <a:sym typeface="Arial"/>
              </a:defRPr>
            </a:lvl9pPr>
          </a:lstStyle>
          <a:p>
            <a:endParaRPr/>
          </a:p>
        </p:txBody>
      </p:sp>
      <p:sp>
        <p:nvSpPr>
          <p:cNvPr id="7" name="Google Shape;7;n"/>
          <p:cNvSpPr txBox="1">
            <a:spLocks noGrp="1"/>
          </p:cNvSpPr>
          <p:nvPr>
            <p:ph type="ftr" idx="11"/>
          </p:nvPr>
        </p:nvSpPr>
        <p:spPr>
          <a:xfrm>
            <a:off x="0" y="9371342"/>
            <a:ext cx="2918897" cy="494971"/>
          </a:xfrm>
          <a:prstGeom prst="rect">
            <a:avLst/>
          </a:prstGeom>
          <a:noFill/>
          <a:ln>
            <a:noFill/>
          </a:ln>
        </p:spPr>
        <p:txBody>
          <a:bodyPr spcFirstLastPara="1" wrap="square" lIns="83125" tIns="41550" rIns="83125" bIns="41550" anchor="b" anchorCtr="0">
            <a:noAutofit/>
          </a:bodyPr>
          <a:lstStyle>
            <a:lvl1pPr marR="0" lvl="0" algn="l" rtl="0">
              <a:spcBef>
                <a:spcPts val="0"/>
              </a:spcBef>
              <a:spcAft>
                <a:spcPts val="0"/>
              </a:spcAft>
              <a:buSzPts val="1400"/>
              <a:buNone/>
              <a:defRPr sz="11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632"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632"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632"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632"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632"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632"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632"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632" b="0" i="0" u="none" strike="noStrike" cap="none">
                <a:solidFill>
                  <a:schemeClr val="dk1"/>
                </a:solidFill>
                <a:latin typeface="Arial"/>
                <a:ea typeface="Arial"/>
                <a:cs typeface="Arial"/>
                <a:sym typeface="Arial"/>
              </a:defRPr>
            </a:lvl9pPr>
          </a:lstStyle>
          <a:p>
            <a:endParaRPr/>
          </a:p>
        </p:txBody>
      </p:sp>
      <p:sp>
        <p:nvSpPr>
          <p:cNvPr id="8" name="Google Shape;8;n"/>
          <p:cNvSpPr txBox="1">
            <a:spLocks noGrp="1"/>
          </p:cNvSpPr>
          <p:nvPr>
            <p:ph type="sldNum" idx="12"/>
          </p:nvPr>
        </p:nvSpPr>
        <p:spPr>
          <a:xfrm>
            <a:off x="3815868" y="9371342"/>
            <a:ext cx="2917897" cy="494971"/>
          </a:xfrm>
          <a:prstGeom prst="rect">
            <a:avLst/>
          </a:prstGeom>
          <a:noFill/>
          <a:ln>
            <a:noFill/>
          </a:ln>
        </p:spPr>
        <p:txBody>
          <a:bodyPr spcFirstLastPara="1" wrap="square" lIns="83125" tIns="41550" rIns="83125" bIns="41550" anchor="b" anchorCtr="0">
            <a:noAutofit/>
          </a:bodyPr>
          <a:lstStyle/>
          <a:p>
            <a:pPr marL="0" marR="0" lvl="0" indent="0" algn="r" rtl="0">
              <a:spcBef>
                <a:spcPts val="0"/>
              </a:spcBef>
              <a:spcAft>
                <a:spcPts val="0"/>
              </a:spcAft>
              <a:buNone/>
            </a:pPr>
            <a:fld id="{00000000-1234-1234-1234-123412341234}" type="slidenum">
              <a:rPr lang="ja-JP" sz="1100" b="0" i="0" u="none" strike="noStrike" cap="none">
                <a:solidFill>
                  <a:schemeClr val="dk1"/>
                </a:solidFill>
                <a:latin typeface="Arial"/>
                <a:ea typeface="Arial"/>
                <a:cs typeface="Arial"/>
                <a:sym typeface="Arial"/>
              </a:rPr>
              <a:t>‹#›</a:t>
            </a:fld>
            <a:endParaRPr sz="11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
        <p:cNvGrpSpPr/>
        <p:nvPr/>
      </p:nvGrpSpPr>
      <p:grpSpPr>
        <a:xfrm>
          <a:off x="0" y="0"/>
          <a:ext cx="0" cy="0"/>
          <a:chOff x="0" y="0"/>
          <a:chExt cx="0" cy="0"/>
        </a:xfrm>
      </p:grpSpPr>
      <p:sp>
        <p:nvSpPr>
          <p:cNvPr id="53" name="Google Shape;53;p2: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5" name="Google Shape;55;p2: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49</a:t>
            </a:fld>
            <a:endParaRPr/>
          </a:p>
        </p:txBody>
      </p:sp>
      <p:sp>
        <p:nvSpPr>
          <p:cNvPr id="3" name="ノート プレースホルダー 2">
            <a:extLst>
              <a:ext uri="{FF2B5EF4-FFF2-40B4-BE49-F238E27FC236}">
                <a16:creationId xmlns:a16="http://schemas.microsoft.com/office/drawing/2014/main" id="{5090EBA4-B93D-489C-A588-6C8FDF602361}"/>
              </a:ext>
            </a:extLst>
          </p:cNvPr>
          <p:cNvSpPr>
            <a:spLocks noGrp="1"/>
          </p:cNvSpPr>
          <p:nvPr>
            <p:ph type="body" idx="1"/>
          </p:nvPr>
        </p:nvSpPr>
        <p:spPr/>
        <p:txBody>
          <a:bodyPr/>
          <a:lstStyle/>
          <a:p>
            <a:endParaRPr lang="ja-JP"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4"/>
        <p:cNvGrpSpPr/>
        <p:nvPr/>
      </p:nvGrpSpPr>
      <p:grpSpPr>
        <a:xfrm>
          <a:off x="0" y="0"/>
          <a:ext cx="0" cy="0"/>
          <a:chOff x="0" y="0"/>
          <a:chExt cx="0" cy="0"/>
        </a:xfrm>
      </p:grpSpPr>
      <p:sp>
        <p:nvSpPr>
          <p:cNvPr id="295" name="Google Shape;295;p8: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7" name="Google Shape;297;p8: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8</a:t>
            </a:fld>
            <a:endParaRPr/>
          </a:p>
        </p:txBody>
      </p:sp>
      <p:sp>
        <p:nvSpPr>
          <p:cNvPr id="3" name="ノート プレースホルダー 2">
            <a:extLst>
              <a:ext uri="{FF2B5EF4-FFF2-40B4-BE49-F238E27FC236}">
                <a16:creationId xmlns:a16="http://schemas.microsoft.com/office/drawing/2014/main" id="{7437B06A-6F5A-4193-8F2B-38F0A7AA9430}"/>
              </a:ext>
            </a:extLst>
          </p:cNvPr>
          <p:cNvSpPr>
            <a:spLocks noGrp="1"/>
          </p:cNvSpPr>
          <p:nvPr>
            <p:ph type="body" idx="1"/>
          </p:nvPr>
        </p:nvSpPr>
        <p:spPr/>
        <p:txBody>
          <a:bodyPr/>
          <a:lstStyle/>
          <a:p>
            <a:endParaRPr lang="ja-JP"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2"/>
        <p:cNvGrpSpPr/>
        <p:nvPr/>
      </p:nvGrpSpPr>
      <p:grpSpPr>
        <a:xfrm>
          <a:off x="0" y="0"/>
          <a:ext cx="0" cy="0"/>
          <a:chOff x="0" y="0"/>
          <a:chExt cx="0" cy="0"/>
        </a:xfrm>
      </p:grpSpPr>
      <p:sp>
        <p:nvSpPr>
          <p:cNvPr id="323" name="Google Shape;323;p9: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25" name="Google Shape;325;p9: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9</a:t>
            </a:fld>
            <a:endParaRPr/>
          </a:p>
        </p:txBody>
      </p:sp>
      <p:sp>
        <p:nvSpPr>
          <p:cNvPr id="3" name="ノート プレースホルダー 2">
            <a:extLst>
              <a:ext uri="{FF2B5EF4-FFF2-40B4-BE49-F238E27FC236}">
                <a16:creationId xmlns:a16="http://schemas.microsoft.com/office/drawing/2014/main" id="{6788053D-C8C0-47AB-9AE7-A03A7E596D09}"/>
              </a:ext>
            </a:extLst>
          </p:cNvPr>
          <p:cNvSpPr>
            <a:spLocks noGrp="1"/>
          </p:cNvSpPr>
          <p:nvPr>
            <p:ph type="body" idx="1"/>
          </p:nvPr>
        </p:nvSpPr>
        <p:spPr/>
        <p:txBody>
          <a:bodyPr/>
          <a:lstStyle/>
          <a:p>
            <a:endParaRPr lang="ja-JP"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2"/>
        <p:cNvGrpSpPr/>
        <p:nvPr/>
      </p:nvGrpSpPr>
      <p:grpSpPr>
        <a:xfrm>
          <a:off x="0" y="0"/>
          <a:ext cx="0" cy="0"/>
          <a:chOff x="0" y="0"/>
          <a:chExt cx="0" cy="0"/>
        </a:xfrm>
      </p:grpSpPr>
      <p:sp>
        <p:nvSpPr>
          <p:cNvPr id="343" name="Google Shape;343;g1424c8524af_1_57: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45" name="Google Shape;345;g1424c8524af_1_57: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60</a:t>
            </a:fld>
            <a:endParaRPr/>
          </a:p>
        </p:txBody>
      </p:sp>
      <p:sp>
        <p:nvSpPr>
          <p:cNvPr id="3" name="ノート プレースホルダー 2">
            <a:extLst>
              <a:ext uri="{FF2B5EF4-FFF2-40B4-BE49-F238E27FC236}">
                <a16:creationId xmlns:a16="http://schemas.microsoft.com/office/drawing/2014/main" id="{9AFD43BC-2DC9-4302-9F20-71D9DD028747}"/>
              </a:ext>
            </a:extLst>
          </p:cNvPr>
          <p:cNvSpPr>
            <a:spLocks noGrp="1"/>
          </p:cNvSpPr>
          <p:nvPr>
            <p:ph type="body" idx="1"/>
          </p:nvPr>
        </p:nvSpPr>
        <p:spPr/>
        <p:txBody>
          <a:bodyPr/>
          <a:lstStyle/>
          <a:p>
            <a:endParaRPr lang="ja-JP"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7"/>
        <p:cNvGrpSpPr/>
        <p:nvPr/>
      </p:nvGrpSpPr>
      <p:grpSpPr>
        <a:xfrm>
          <a:off x="0" y="0"/>
          <a:ext cx="0" cy="0"/>
          <a:chOff x="0" y="0"/>
          <a:chExt cx="0" cy="0"/>
        </a:xfrm>
      </p:grpSpPr>
      <p:sp>
        <p:nvSpPr>
          <p:cNvPr id="378" name="Google Shape;378;g1424c8524af_1_111: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80" name="Google Shape;380;g1424c8524af_1_111: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61</a:t>
            </a:fld>
            <a:endParaRPr/>
          </a:p>
        </p:txBody>
      </p:sp>
      <p:sp>
        <p:nvSpPr>
          <p:cNvPr id="3" name="ノート プレースホルダー 2">
            <a:extLst>
              <a:ext uri="{FF2B5EF4-FFF2-40B4-BE49-F238E27FC236}">
                <a16:creationId xmlns:a16="http://schemas.microsoft.com/office/drawing/2014/main" id="{E98D4C9F-794C-4FFD-A2D4-BBC07E2357BC}"/>
              </a:ext>
            </a:extLst>
          </p:cNvPr>
          <p:cNvSpPr>
            <a:spLocks noGrp="1"/>
          </p:cNvSpPr>
          <p:nvPr>
            <p:ph type="body" idx="1"/>
          </p:nvPr>
        </p:nvSpPr>
        <p:spPr/>
        <p:txBody>
          <a:bodyPr/>
          <a:lstStyle/>
          <a:p>
            <a:endParaRPr lang="ja-JP"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4"/>
        <p:cNvGrpSpPr/>
        <p:nvPr/>
      </p:nvGrpSpPr>
      <p:grpSpPr>
        <a:xfrm>
          <a:off x="0" y="0"/>
          <a:ext cx="0" cy="0"/>
          <a:chOff x="0" y="0"/>
          <a:chExt cx="0" cy="0"/>
        </a:xfrm>
      </p:grpSpPr>
      <p:sp>
        <p:nvSpPr>
          <p:cNvPr id="435" name="Google Shape;435;p12: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7" name="Google Shape;437;p12:notes"/>
          <p:cNvSpPr txBox="1">
            <a:spLocks noGrp="1"/>
          </p:cNvSpPr>
          <p:nvPr>
            <p:ph type="sldNum" idx="12"/>
          </p:nvPr>
        </p:nvSpPr>
        <p:spPr>
          <a:xfrm>
            <a:off x="3815868" y="9371342"/>
            <a:ext cx="2917897" cy="494971"/>
          </a:xfrm>
          <a:prstGeom prst="rect">
            <a:avLst/>
          </a:prstGeom>
          <a:noFill/>
          <a:ln>
            <a:noFill/>
          </a:ln>
        </p:spPr>
        <p:txBody>
          <a:bodyPr spcFirstLastPara="1" wrap="square" lIns="83125" tIns="41550" rIns="83125" bIns="41550" anchor="b" anchorCtr="0">
            <a:noAutofit/>
          </a:bodyPr>
          <a:lstStyle/>
          <a:p>
            <a:pPr marL="0" lvl="0" indent="0" algn="r" rtl="0">
              <a:spcBef>
                <a:spcPts val="0"/>
              </a:spcBef>
              <a:spcAft>
                <a:spcPts val="0"/>
              </a:spcAft>
              <a:buNone/>
            </a:pPr>
            <a:fld id="{00000000-1234-1234-1234-123412341234}" type="slidenum">
              <a:rPr lang="en-US" altLang="ja-JP" sz="1200">
                <a:solidFill>
                  <a:schemeClr val="dk1"/>
                </a:solidFill>
                <a:latin typeface="Arial"/>
                <a:ea typeface="Arial"/>
                <a:cs typeface="Arial"/>
                <a:sym typeface="Arial"/>
              </a:rPr>
              <a:t>62</a:t>
            </a:fld>
            <a:endParaRPr sz="1200">
              <a:solidFill>
                <a:schemeClr val="dk1"/>
              </a:solidFill>
              <a:latin typeface="Arial"/>
              <a:ea typeface="Arial"/>
              <a:cs typeface="Arial"/>
              <a:sym typeface="Arial"/>
            </a:endParaRPr>
          </a:p>
        </p:txBody>
      </p:sp>
      <p:sp>
        <p:nvSpPr>
          <p:cNvPr id="3" name="ノート プレースホルダー 2">
            <a:extLst>
              <a:ext uri="{FF2B5EF4-FFF2-40B4-BE49-F238E27FC236}">
                <a16:creationId xmlns:a16="http://schemas.microsoft.com/office/drawing/2014/main" id="{BA8203A3-32C5-4D99-8876-21B056E3DCDE}"/>
              </a:ext>
            </a:extLst>
          </p:cNvPr>
          <p:cNvSpPr>
            <a:spLocks noGrp="1"/>
          </p:cNvSpPr>
          <p:nvPr>
            <p:ph type="body" idx="1"/>
          </p:nvPr>
        </p:nvSpPr>
        <p:spPr/>
        <p:txBody>
          <a:bodyPr/>
          <a:lstStyle/>
          <a:p>
            <a:endParaRPr lang="ja-JP"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2"/>
        <p:cNvGrpSpPr/>
        <p:nvPr/>
      </p:nvGrpSpPr>
      <p:grpSpPr>
        <a:xfrm>
          <a:off x="0" y="0"/>
          <a:ext cx="0" cy="0"/>
          <a:chOff x="0" y="0"/>
          <a:chExt cx="0" cy="0"/>
        </a:xfrm>
      </p:grpSpPr>
      <p:sp>
        <p:nvSpPr>
          <p:cNvPr id="443" name="Google Shape;443;p13: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5" name="Google Shape;445;p13: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3</a:t>
            </a:fld>
            <a:endParaRPr/>
          </a:p>
        </p:txBody>
      </p:sp>
      <p:sp>
        <p:nvSpPr>
          <p:cNvPr id="3" name="ノート プレースホルダー 2">
            <a:extLst>
              <a:ext uri="{FF2B5EF4-FFF2-40B4-BE49-F238E27FC236}">
                <a16:creationId xmlns:a16="http://schemas.microsoft.com/office/drawing/2014/main" id="{84ABF7D3-48C6-4BB7-BC24-A1D678AC72EA}"/>
              </a:ext>
            </a:extLst>
          </p:cNvPr>
          <p:cNvSpPr>
            <a:spLocks noGrp="1"/>
          </p:cNvSpPr>
          <p:nvPr>
            <p:ph type="body" idx="1"/>
          </p:nvPr>
        </p:nvSpPr>
        <p:spPr/>
        <p:txBody>
          <a:bodyPr/>
          <a:lstStyle/>
          <a:p>
            <a:endParaRPr lang="ja-JP"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4"/>
        <p:cNvGrpSpPr/>
        <p:nvPr/>
      </p:nvGrpSpPr>
      <p:grpSpPr>
        <a:xfrm>
          <a:off x="0" y="0"/>
          <a:ext cx="0" cy="0"/>
          <a:chOff x="0" y="0"/>
          <a:chExt cx="0" cy="0"/>
        </a:xfrm>
      </p:grpSpPr>
      <p:sp>
        <p:nvSpPr>
          <p:cNvPr id="475" name="Google Shape;475;p15: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77" name="Google Shape;477;p15: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4</a:t>
            </a:fld>
            <a:endParaRPr/>
          </a:p>
        </p:txBody>
      </p:sp>
      <p:sp>
        <p:nvSpPr>
          <p:cNvPr id="3" name="ノート プレースホルダー 2">
            <a:extLst>
              <a:ext uri="{FF2B5EF4-FFF2-40B4-BE49-F238E27FC236}">
                <a16:creationId xmlns:a16="http://schemas.microsoft.com/office/drawing/2014/main" id="{37B3CBD2-2BAD-4C41-9AA0-56B861DD8987}"/>
              </a:ext>
            </a:extLst>
          </p:cNvPr>
          <p:cNvSpPr>
            <a:spLocks noGrp="1"/>
          </p:cNvSpPr>
          <p:nvPr>
            <p:ph type="body" idx="1"/>
          </p:nvPr>
        </p:nvSpPr>
        <p:spPr/>
        <p:txBody>
          <a:bodyPr/>
          <a:lstStyle/>
          <a:p>
            <a:endParaRPr lang="ja-JP"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1"/>
        <p:cNvGrpSpPr/>
        <p:nvPr/>
      </p:nvGrpSpPr>
      <p:grpSpPr>
        <a:xfrm>
          <a:off x="0" y="0"/>
          <a:ext cx="0" cy="0"/>
          <a:chOff x="0" y="0"/>
          <a:chExt cx="0" cy="0"/>
        </a:xfrm>
      </p:grpSpPr>
      <p:sp>
        <p:nvSpPr>
          <p:cNvPr id="502" name="Google Shape;502;g142cf40d0f7_0_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4" name="Google Shape;504;g142cf40d0f7_0_6:notes"/>
          <p:cNvSpPr txBox="1">
            <a:spLocks noGrp="1"/>
          </p:cNvSpPr>
          <p:nvPr>
            <p:ph type="sldNum" idx="12"/>
          </p:nvPr>
        </p:nvSpPr>
        <p:spPr>
          <a:xfrm>
            <a:off x="4239456" y="10082312"/>
            <a:ext cx="3241800" cy="532500"/>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5</a:t>
            </a:fld>
            <a:endParaRPr/>
          </a:p>
        </p:txBody>
      </p:sp>
      <p:sp>
        <p:nvSpPr>
          <p:cNvPr id="3" name="ノート プレースホルダー 2">
            <a:extLst>
              <a:ext uri="{FF2B5EF4-FFF2-40B4-BE49-F238E27FC236}">
                <a16:creationId xmlns:a16="http://schemas.microsoft.com/office/drawing/2014/main" id="{FBF7B7CE-16C8-400A-993B-05864EFC81CB}"/>
              </a:ext>
            </a:extLst>
          </p:cNvPr>
          <p:cNvSpPr>
            <a:spLocks noGrp="1"/>
          </p:cNvSpPr>
          <p:nvPr>
            <p:ph type="body" idx="1"/>
          </p:nvPr>
        </p:nvSpPr>
        <p:spPr/>
        <p:txBody>
          <a:bodyPr/>
          <a:lstStyle/>
          <a:p>
            <a:endParaRPr lang="ja-JP"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4"/>
        <p:cNvGrpSpPr/>
        <p:nvPr/>
      </p:nvGrpSpPr>
      <p:grpSpPr>
        <a:xfrm>
          <a:off x="0" y="0"/>
          <a:ext cx="0" cy="0"/>
          <a:chOff x="0" y="0"/>
          <a:chExt cx="0" cy="0"/>
        </a:xfrm>
      </p:grpSpPr>
      <p:sp>
        <p:nvSpPr>
          <p:cNvPr id="525" name="Google Shape;525;p14: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27" name="Google Shape;527;p14: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6</a:t>
            </a:fld>
            <a:endParaRPr/>
          </a:p>
        </p:txBody>
      </p:sp>
      <p:sp>
        <p:nvSpPr>
          <p:cNvPr id="3" name="ノート プレースホルダー 2">
            <a:extLst>
              <a:ext uri="{FF2B5EF4-FFF2-40B4-BE49-F238E27FC236}">
                <a16:creationId xmlns:a16="http://schemas.microsoft.com/office/drawing/2014/main" id="{91C75A5F-EB27-438F-A7CD-736DFCF46A72}"/>
              </a:ext>
            </a:extLst>
          </p:cNvPr>
          <p:cNvSpPr>
            <a:spLocks noGrp="1"/>
          </p:cNvSpPr>
          <p:nvPr>
            <p:ph type="body" idx="1"/>
          </p:nvPr>
        </p:nvSpPr>
        <p:spPr/>
        <p:txBody>
          <a:bodyPr/>
          <a:lstStyle/>
          <a:p>
            <a:endParaRPr lang="ja-JP"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7"/>
        <p:cNvGrpSpPr/>
        <p:nvPr/>
      </p:nvGrpSpPr>
      <p:grpSpPr>
        <a:xfrm>
          <a:off x="0" y="0"/>
          <a:ext cx="0" cy="0"/>
          <a:chOff x="0" y="0"/>
          <a:chExt cx="0" cy="0"/>
        </a:xfrm>
      </p:grpSpPr>
      <p:sp>
        <p:nvSpPr>
          <p:cNvPr id="548" name="Google Shape;548;g142cf40d0f7_0_3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50" name="Google Shape;550;g142cf40d0f7_0_36:notes"/>
          <p:cNvSpPr txBox="1">
            <a:spLocks noGrp="1"/>
          </p:cNvSpPr>
          <p:nvPr>
            <p:ph type="sldNum" idx="12"/>
          </p:nvPr>
        </p:nvSpPr>
        <p:spPr>
          <a:xfrm>
            <a:off x="4239456" y="10082312"/>
            <a:ext cx="3241800" cy="532500"/>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7</a:t>
            </a:fld>
            <a:endParaRPr/>
          </a:p>
        </p:txBody>
      </p:sp>
      <p:sp>
        <p:nvSpPr>
          <p:cNvPr id="3" name="ノート プレースホルダー 2">
            <a:extLst>
              <a:ext uri="{FF2B5EF4-FFF2-40B4-BE49-F238E27FC236}">
                <a16:creationId xmlns:a16="http://schemas.microsoft.com/office/drawing/2014/main" id="{334FD0F8-4074-4C06-8FCD-CA4F2C239F80}"/>
              </a:ext>
            </a:extLst>
          </p:cNvPr>
          <p:cNvSpPr>
            <a:spLocks noGrp="1"/>
          </p:cNvSpPr>
          <p:nvPr>
            <p:ph type="body" idx="1"/>
          </p:nvPr>
        </p:nvSpPr>
        <p:spPr/>
        <p:txBody>
          <a:bodyPr/>
          <a:lstStyle/>
          <a:p>
            <a:endParaRPr lang="ja-JP"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
        <p:cNvGrpSpPr/>
        <p:nvPr/>
      </p:nvGrpSpPr>
      <p:grpSpPr>
        <a:xfrm>
          <a:off x="0" y="0"/>
          <a:ext cx="0" cy="0"/>
          <a:chOff x="0" y="0"/>
          <a:chExt cx="0" cy="0"/>
        </a:xfrm>
      </p:grpSpPr>
      <p:sp>
        <p:nvSpPr>
          <p:cNvPr id="68" name="Google Shape;68;p3: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0" name="Google Shape;70;p3: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0</a:t>
            </a:fld>
            <a:endParaRPr/>
          </a:p>
        </p:txBody>
      </p:sp>
      <p:sp>
        <p:nvSpPr>
          <p:cNvPr id="3" name="ノート プレースホルダー 2">
            <a:extLst>
              <a:ext uri="{FF2B5EF4-FFF2-40B4-BE49-F238E27FC236}">
                <a16:creationId xmlns:a16="http://schemas.microsoft.com/office/drawing/2014/main" id="{A290B4CB-C313-4068-BBBB-263702F33FDC}"/>
              </a:ext>
            </a:extLst>
          </p:cNvPr>
          <p:cNvSpPr>
            <a:spLocks noGrp="1"/>
          </p:cNvSpPr>
          <p:nvPr>
            <p:ph type="body" idx="1"/>
          </p:nvPr>
        </p:nvSpPr>
        <p:spPr/>
        <p:txBody>
          <a:bodyPr/>
          <a:lstStyle/>
          <a:p>
            <a:endParaRPr lang="ja-JP"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6"/>
        <p:cNvGrpSpPr/>
        <p:nvPr/>
      </p:nvGrpSpPr>
      <p:grpSpPr>
        <a:xfrm>
          <a:off x="0" y="0"/>
          <a:ext cx="0" cy="0"/>
          <a:chOff x="0" y="0"/>
          <a:chExt cx="0" cy="0"/>
        </a:xfrm>
      </p:grpSpPr>
      <p:sp>
        <p:nvSpPr>
          <p:cNvPr id="577" name="Google Shape;577;p17: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79" name="Google Shape;579;p17: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8</a:t>
            </a:fld>
            <a:endParaRPr/>
          </a:p>
        </p:txBody>
      </p:sp>
      <p:sp>
        <p:nvSpPr>
          <p:cNvPr id="3" name="ノート プレースホルダー 2">
            <a:extLst>
              <a:ext uri="{FF2B5EF4-FFF2-40B4-BE49-F238E27FC236}">
                <a16:creationId xmlns:a16="http://schemas.microsoft.com/office/drawing/2014/main" id="{2C5236EE-BDA0-4751-807A-FE6E490A6FE9}"/>
              </a:ext>
            </a:extLst>
          </p:cNvPr>
          <p:cNvSpPr>
            <a:spLocks noGrp="1"/>
          </p:cNvSpPr>
          <p:nvPr>
            <p:ph type="body" idx="1"/>
          </p:nvPr>
        </p:nvSpPr>
        <p:spPr/>
        <p:txBody>
          <a:bodyPr/>
          <a:lstStyle/>
          <a:p>
            <a:endParaRPr lang="ja-JP"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5"/>
        <p:cNvGrpSpPr/>
        <p:nvPr/>
      </p:nvGrpSpPr>
      <p:grpSpPr>
        <a:xfrm>
          <a:off x="0" y="0"/>
          <a:ext cx="0" cy="0"/>
          <a:chOff x="0" y="0"/>
          <a:chExt cx="0" cy="0"/>
        </a:xfrm>
      </p:grpSpPr>
      <p:sp>
        <p:nvSpPr>
          <p:cNvPr id="606" name="Google Shape;606;p1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08" name="Google Shape;608;p16: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9</a:t>
            </a:fld>
            <a:endParaRPr/>
          </a:p>
        </p:txBody>
      </p:sp>
      <p:sp>
        <p:nvSpPr>
          <p:cNvPr id="3" name="ノート プレースホルダー 2">
            <a:extLst>
              <a:ext uri="{FF2B5EF4-FFF2-40B4-BE49-F238E27FC236}">
                <a16:creationId xmlns:a16="http://schemas.microsoft.com/office/drawing/2014/main" id="{4D0E6580-572F-4439-B184-4E999D281B1A}"/>
              </a:ext>
            </a:extLst>
          </p:cNvPr>
          <p:cNvSpPr>
            <a:spLocks noGrp="1"/>
          </p:cNvSpPr>
          <p:nvPr>
            <p:ph type="body" idx="1"/>
          </p:nvPr>
        </p:nvSpPr>
        <p:spPr/>
        <p:txBody>
          <a:bodyPr/>
          <a:lstStyle/>
          <a:p>
            <a:endParaRPr lang="ja-JP"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9"/>
        <p:cNvGrpSpPr/>
        <p:nvPr/>
      </p:nvGrpSpPr>
      <p:grpSpPr>
        <a:xfrm>
          <a:off x="0" y="0"/>
          <a:ext cx="0" cy="0"/>
          <a:chOff x="0" y="0"/>
          <a:chExt cx="0" cy="0"/>
        </a:xfrm>
      </p:grpSpPr>
      <p:sp>
        <p:nvSpPr>
          <p:cNvPr id="630" name="Google Shape;630;p18: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32" name="Google Shape;632;p18: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sz="1400">
                <a:solidFill>
                  <a:srgbClr val="000000"/>
                </a:solidFill>
                <a:latin typeface="Arial"/>
                <a:ea typeface="Arial"/>
                <a:cs typeface="Arial"/>
                <a:sym typeface="Arial"/>
              </a:rPr>
              <a:t>70</a:t>
            </a:fld>
            <a:endParaRPr sz="1400">
              <a:solidFill>
                <a:srgbClr val="000000"/>
              </a:solidFill>
              <a:latin typeface="Arial"/>
              <a:ea typeface="Arial"/>
              <a:cs typeface="Arial"/>
              <a:sym typeface="Arial"/>
            </a:endParaRPr>
          </a:p>
        </p:txBody>
      </p:sp>
      <p:sp>
        <p:nvSpPr>
          <p:cNvPr id="3" name="ノート プレースホルダー 2">
            <a:extLst>
              <a:ext uri="{FF2B5EF4-FFF2-40B4-BE49-F238E27FC236}">
                <a16:creationId xmlns:a16="http://schemas.microsoft.com/office/drawing/2014/main" id="{E3A4FE5A-04C9-46CC-A9A5-6B771C8FAD8C}"/>
              </a:ext>
            </a:extLst>
          </p:cNvPr>
          <p:cNvSpPr>
            <a:spLocks noGrp="1"/>
          </p:cNvSpPr>
          <p:nvPr>
            <p:ph type="body" idx="1"/>
          </p:nvPr>
        </p:nvSpPr>
        <p:spPr/>
        <p:txBody>
          <a:bodyPr/>
          <a:lstStyle/>
          <a:p>
            <a:endParaRPr lang="ja-JP"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1"/>
        <p:cNvGrpSpPr/>
        <p:nvPr/>
      </p:nvGrpSpPr>
      <p:grpSpPr>
        <a:xfrm>
          <a:off x="0" y="0"/>
          <a:ext cx="0" cy="0"/>
          <a:chOff x="0" y="0"/>
          <a:chExt cx="0" cy="0"/>
        </a:xfrm>
      </p:grpSpPr>
      <p:sp>
        <p:nvSpPr>
          <p:cNvPr id="662" name="Google Shape;662;p19: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64" name="Google Shape;664;p19: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1</a:t>
            </a:fld>
            <a:endParaRPr/>
          </a:p>
        </p:txBody>
      </p:sp>
      <p:sp>
        <p:nvSpPr>
          <p:cNvPr id="3" name="ノート プレースホルダー 2">
            <a:extLst>
              <a:ext uri="{FF2B5EF4-FFF2-40B4-BE49-F238E27FC236}">
                <a16:creationId xmlns:a16="http://schemas.microsoft.com/office/drawing/2014/main" id="{9D1D89FE-EE8F-44C5-AD0E-2D55396C218E}"/>
              </a:ext>
            </a:extLst>
          </p:cNvPr>
          <p:cNvSpPr>
            <a:spLocks noGrp="1"/>
          </p:cNvSpPr>
          <p:nvPr>
            <p:ph type="body" idx="1"/>
          </p:nvPr>
        </p:nvSpPr>
        <p:spPr/>
        <p:txBody>
          <a:bodyPr/>
          <a:lstStyle/>
          <a:p>
            <a:endParaRPr lang="ja-JP"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4"/>
        <p:cNvGrpSpPr/>
        <p:nvPr/>
      </p:nvGrpSpPr>
      <p:grpSpPr>
        <a:xfrm>
          <a:off x="0" y="0"/>
          <a:ext cx="0" cy="0"/>
          <a:chOff x="0" y="0"/>
          <a:chExt cx="0" cy="0"/>
        </a:xfrm>
      </p:grpSpPr>
      <p:sp>
        <p:nvSpPr>
          <p:cNvPr id="685" name="Google Shape;685;p20: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87" name="Google Shape;687;p20: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2</a:t>
            </a:fld>
            <a:endParaRPr/>
          </a:p>
        </p:txBody>
      </p:sp>
      <p:sp>
        <p:nvSpPr>
          <p:cNvPr id="3" name="ノート プレースホルダー 2">
            <a:extLst>
              <a:ext uri="{FF2B5EF4-FFF2-40B4-BE49-F238E27FC236}">
                <a16:creationId xmlns:a16="http://schemas.microsoft.com/office/drawing/2014/main" id="{E1F2F411-6DA6-4395-B36C-2D740125E9A2}"/>
              </a:ext>
            </a:extLst>
          </p:cNvPr>
          <p:cNvSpPr>
            <a:spLocks noGrp="1"/>
          </p:cNvSpPr>
          <p:nvPr>
            <p:ph type="body" idx="1"/>
          </p:nvPr>
        </p:nvSpPr>
        <p:spPr/>
        <p:txBody>
          <a:bodyPr/>
          <a:lstStyle/>
          <a:p>
            <a:endParaRPr lang="ja-JP"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3"/>
        <p:cNvGrpSpPr/>
        <p:nvPr/>
      </p:nvGrpSpPr>
      <p:grpSpPr>
        <a:xfrm>
          <a:off x="0" y="0"/>
          <a:ext cx="0" cy="0"/>
          <a:chOff x="0" y="0"/>
          <a:chExt cx="0" cy="0"/>
        </a:xfrm>
      </p:grpSpPr>
      <p:sp>
        <p:nvSpPr>
          <p:cNvPr id="744" name="Google Shape;744;p21: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6" name="Google Shape;746;p21: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3</a:t>
            </a:fld>
            <a:endParaRPr/>
          </a:p>
        </p:txBody>
      </p:sp>
      <p:sp>
        <p:nvSpPr>
          <p:cNvPr id="3" name="ノート プレースホルダー 2">
            <a:extLst>
              <a:ext uri="{FF2B5EF4-FFF2-40B4-BE49-F238E27FC236}">
                <a16:creationId xmlns:a16="http://schemas.microsoft.com/office/drawing/2014/main" id="{92D101D7-E090-48DB-B991-48C51D9B2A1D}"/>
              </a:ext>
            </a:extLst>
          </p:cNvPr>
          <p:cNvSpPr>
            <a:spLocks noGrp="1"/>
          </p:cNvSpPr>
          <p:nvPr>
            <p:ph type="body" idx="1"/>
          </p:nvPr>
        </p:nvSpPr>
        <p:spPr/>
        <p:txBody>
          <a:bodyPr/>
          <a:lstStyle/>
          <a:p>
            <a:endParaRPr lang="ja-JP"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22: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4" name="Google Shape;794;p22:notes"/>
          <p:cNvSpPr txBox="1">
            <a:spLocks noGrp="1"/>
          </p:cNvSpPr>
          <p:nvPr>
            <p:ph type="sldNum" idx="12"/>
          </p:nvPr>
        </p:nvSpPr>
        <p:spPr>
          <a:xfrm>
            <a:off x="3815868" y="9371342"/>
            <a:ext cx="2917897" cy="494971"/>
          </a:xfrm>
          <a:prstGeom prst="rect">
            <a:avLst/>
          </a:prstGeom>
          <a:noFill/>
          <a:ln>
            <a:noFill/>
          </a:ln>
        </p:spPr>
        <p:txBody>
          <a:bodyPr spcFirstLastPara="1" wrap="square" lIns="83125" tIns="41550" rIns="83125" bIns="41550" anchor="b" anchorCtr="0">
            <a:noAutofit/>
          </a:bodyPr>
          <a:lstStyle/>
          <a:p>
            <a:pPr marL="0" lvl="0" indent="0" algn="r" rtl="0">
              <a:spcBef>
                <a:spcPts val="0"/>
              </a:spcBef>
              <a:spcAft>
                <a:spcPts val="0"/>
              </a:spcAft>
              <a:buNone/>
            </a:pPr>
            <a:fld id="{00000000-1234-1234-1234-123412341234}" type="slidenum">
              <a:rPr lang="en-US" altLang="ja-JP"/>
              <a:t>74</a:t>
            </a:fld>
            <a:endParaRPr/>
          </a:p>
        </p:txBody>
      </p:sp>
      <p:sp>
        <p:nvSpPr>
          <p:cNvPr id="3" name="ノート プレースホルダー 2">
            <a:extLst>
              <a:ext uri="{FF2B5EF4-FFF2-40B4-BE49-F238E27FC236}">
                <a16:creationId xmlns:a16="http://schemas.microsoft.com/office/drawing/2014/main" id="{191543A9-F093-438E-BBC5-04BF99596998}"/>
              </a:ext>
            </a:extLst>
          </p:cNvPr>
          <p:cNvSpPr>
            <a:spLocks noGrp="1"/>
          </p:cNvSpPr>
          <p:nvPr>
            <p:ph type="body" idx="1"/>
          </p:nvPr>
        </p:nvSpPr>
        <p:spPr/>
        <p:txBody>
          <a:bodyPr/>
          <a:lstStyle/>
          <a:p>
            <a:endParaRPr lang="ja-JP"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9"/>
        <p:cNvGrpSpPr/>
        <p:nvPr/>
      </p:nvGrpSpPr>
      <p:grpSpPr>
        <a:xfrm>
          <a:off x="0" y="0"/>
          <a:ext cx="0" cy="0"/>
          <a:chOff x="0" y="0"/>
          <a:chExt cx="0" cy="0"/>
        </a:xfrm>
      </p:grpSpPr>
      <p:sp>
        <p:nvSpPr>
          <p:cNvPr id="820" name="Google Shape;820;p23: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22" name="Google Shape;822;p23: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5</a:t>
            </a:fld>
            <a:endParaRPr/>
          </a:p>
        </p:txBody>
      </p:sp>
      <p:sp>
        <p:nvSpPr>
          <p:cNvPr id="3" name="ノート プレースホルダー 2">
            <a:extLst>
              <a:ext uri="{FF2B5EF4-FFF2-40B4-BE49-F238E27FC236}">
                <a16:creationId xmlns:a16="http://schemas.microsoft.com/office/drawing/2014/main" id="{0427E337-1325-42E0-A6F7-1679342354AD}"/>
              </a:ext>
            </a:extLst>
          </p:cNvPr>
          <p:cNvSpPr>
            <a:spLocks noGrp="1"/>
          </p:cNvSpPr>
          <p:nvPr>
            <p:ph type="body" idx="1"/>
          </p:nvPr>
        </p:nvSpPr>
        <p:spPr/>
        <p:txBody>
          <a:bodyPr/>
          <a:lstStyle/>
          <a:p>
            <a:endParaRPr lang="ja-JP"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0"/>
        <p:cNvGrpSpPr/>
        <p:nvPr/>
      </p:nvGrpSpPr>
      <p:grpSpPr>
        <a:xfrm>
          <a:off x="0" y="0"/>
          <a:ext cx="0" cy="0"/>
          <a:chOff x="0" y="0"/>
          <a:chExt cx="0" cy="0"/>
        </a:xfrm>
      </p:grpSpPr>
      <p:sp>
        <p:nvSpPr>
          <p:cNvPr id="851" name="Google Shape;851;g143eb037c4f_6_0: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53" name="Google Shape;853;g143eb037c4f_6_0:notes"/>
          <p:cNvSpPr txBox="1">
            <a:spLocks noGrp="1"/>
          </p:cNvSpPr>
          <p:nvPr>
            <p:ph type="sldNum" idx="12"/>
          </p:nvPr>
        </p:nvSpPr>
        <p:spPr>
          <a:xfrm>
            <a:off x="4239456" y="10082312"/>
            <a:ext cx="3241800" cy="532500"/>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6</a:t>
            </a:fld>
            <a:endParaRPr/>
          </a:p>
        </p:txBody>
      </p:sp>
      <p:sp>
        <p:nvSpPr>
          <p:cNvPr id="3" name="ノート プレースホルダー 2">
            <a:extLst>
              <a:ext uri="{FF2B5EF4-FFF2-40B4-BE49-F238E27FC236}">
                <a16:creationId xmlns:a16="http://schemas.microsoft.com/office/drawing/2014/main" id="{BAEE97C3-BF55-4F74-B976-2E94CDCBC362}"/>
              </a:ext>
            </a:extLst>
          </p:cNvPr>
          <p:cNvSpPr>
            <a:spLocks noGrp="1"/>
          </p:cNvSpPr>
          <p:nvPr>
            <p:ph type="body" idx="1"/>
          </p:nvPr>
        </p:nvSpPr>
        <p:spPr/>
        <p:txBody>
          <a:bodyPr/>
          <a:lstStyle/>
          <a:p>
            <a:endParaRPr lang="ja-JP"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2"/>
        <p:cNvGrpSpPr/>
        <p:nvPr/>
      </p:nvGrpSpPr>
      <p:grpSpPr>
        <a:xfrm>
          <a:off x="0" y="0"/>
          <a:ext cx="0" cy="0"/>
          <a:chOff x="0" y="0"/>
          <a:chExt cx="0" cy="0"/>
        </a:xfrm>
      </p:grpSpPr>
      <p:sp>
        <p:nvSpPr>
          <p:cNvPr id="873" name="Google Shape;873;p24: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5" name="Google Shape;875;p24: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7</a:t>
            </a:fld>
            <a:endParaRPr/>
          </a:p>
        </p:txBody>
      </p:sp>
      <p:sp>
        <p:nvSpPr>
          <p:cNvPr id="3" name="ノート プレースホルダー 2">
            <a:extLst>
              <a:ext uri="{FF2B5EF4-FFF2-40B4-BE49-F238E27FC236}">
                <a16:creationId xmlns:a16="http://schemas.microsoft.com/office/drawing/2014/main" id="{A2226823-E198-4307-974A-0C7B65D6DE6F}"/>
              </a:ext>
            </a:extLst>
          </p:cNvPr>
          <p:cNvSpPr>
            <a:spLocks noGrp="1"/>
          </p:cNvSpPr>
          <p:nvPr>
            <p:ph type="body" idx="1"/>
          </p:nvPr>
        </p:nvSpPr>
        <p:spPr/>
        <p:txBody>
          <a:bodyPr/>
          <a:lstStyle/>
          <a:p>
            <a:endParaRPr lang="ja-JP"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
        <p:cNvGrpSpPr/>
        <p:nvPr/>
      </p:nvGrpSpPr>
      <p:grpSpPr>
        <a:xfrm>
          <a:off x="0" y="0"/>
          <a:ext cx="0" cy="0"/>
          <a:chOff x="0" y="0"/>
          <a:chExt cx="0" cy="0"/>
        </a:xfrm>
      </p:grpSpPr>
      <p:sp>
        <p:nvSpPr>
          <p:cNvPr id="79" name="Google Shape;79;p4: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1" name="Google Shape;81;p4: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1</a:t>
            </a:fld>
            <a:endParaRPr/>
          </a:p>
        </p:txBody>
      </p:sp>
      <p:sp>
        <p:nvSpPr>
          <p:cNvPr id="3" name="ノート プレースホルダー 2">
            <a:extLst>
              <a:ext uri="{FF2B5EF4-FFF2-40B4-BE49-F238E27FC236}">
                <a16:creationId xmlns:a16="http://schemas.microsoft.com/office/drawing/2014/main" id="{0F9D56E6-C8F7-4994-86C8-6FA3BCF47EAC}"/>
              </a:ext>
            </a:extLst>
          </p:cNvPr>
          <p:cNvSpPr>
            <a:spLocks noGrp="1"/>
          </p:cNvSpPr>
          <p:nvPr>
            <p:ph type="body" idx="1"/>
          </p:nvPr>
        </p:nvSpPr>
        <p:spPr/>
        <p:txBody>
          <a:bodyPr/>
          <a:lstStyle/>
          <a:p>
            <a:endParaRPr lang="ja-JP"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7"/>
        <p:cNvGrpSpPr/>
        <p:nvPr/>
      </p:nvGrpSpPr>
      <p:grpSpPr>
        <a:xfrm>
          <a:off x="0" y="0"/>
          <a:ext cx="0" cy="0"/>
          <a:chOff x="0" y="0"/>
          <a:chExt cx="0" cy="0"/>
        </a:xfrm>
      </p:grpSpPr>
      <p:sp>
        <p:nvSpPr>
          <p:cNvPr id="888" name="Google Shape;888;p25: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90" name="Google Shape;890;p25:notes"/>
          <p:cNvSpPr txBox="1">
            <a:spLocks noGrp="1"/>
          </p:cNvSpPr>
          <p:nvPr>
            <p:ph type="sldNum" idx="12"/>
          </p:nvPr>
        </p:nvSpPr>
        <p:spPr>
          <a:xfrm>
            <a:off x="3815868" y="9371342"/>
            <a:ext cx="2917897" cy="494971"/>
          </a:xfrm>
          <a:prstGeom prst="rect">
            <a:avLst/>
          </a:prstGeom>
          <a:noFill/>
          <a:ln>
            <a:noFill/>
          </a:ln>
        </p:spPr>
        <p:txBody>
          <a:bodyPr spcFirstLastPara="1" wrap="square" lIns="83125" tIns="41550" rIns="83125" bIns="41550" anchor="b" anchorCtr="0">
            <a:noAutofit/>
          </a:bodyPr>
          <a:lstStyle/>
          <a:p>
            <a:pPr marL="0" lvl="0" indent="0" algn="r" rtl="0">
              <a:spcBef>
                <a:spcPts val="0"/>
              </a:spcBef>
              <a:spcAft>
                <a:spcPts val="0"/>
              </a:spcAft>
              <a:buNone/>
            </a:pPr>
            <a:fld id="{00000000-1234-1234-1234-123412341234}" type="slidenum">
              <a:rPr lang="en-US" altLang="ja-JP"/>
              <a:t>78</a:t>
            </a:fld>
            <a:endParaRPr/>
          </a:p>
        </p:txBody>
      </p:sp>
      <p:sp>
        <p:nvSpPr>
          <p:cNvPr id="3" name="ノート プレースホルダー 2">
            <a:extLst>
              <a:ext uri="{FF2B5EF4-FFF2-40B4-BE49-F238E27FC236}">
                <a16:creationId xmlns:a16="http://schemas.microsoft.com/office/drawing/2014/main" id="{58CCC45E-306D-4A9D-9F01-24699F9C43A4}"/>
              </a:ext>
            </a:extLst>
          </p:cNvPr>
          <p:cNvSpPr>
            <a:spLocks noGrp="1"/>
          </p:cNvSpPr>
          <p:nvPr>
            <p:ph type="body" idx="1"/>
          </p:nvPr>
        </p:nvSpPr>
        <p:spPr/>
        <p:txBody>
          <a:bodyPr/>
          <a:lstStyle/>
          <a:p>
            <a:endParaRPr lang="ja-JP"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5"/>
        <p:cNvGrpSpPr/>
        <p:nvPr/>
      </p:nvGrpSpPr>
      <p:grpSpPr>
        <a:xfrm>
          <a:off x="0" y="0"/>
          <a:ext cx="0" cy="0"/>
          <a:chOff x="0" y="0"/>
          <a:chExt cx="0" cy="0"/>
        </a:xfrm>
      </p:grpSpPr>
      <p:sp>
        <p:nvSpPr>
          <p:cNvPr id="896" name="Google Shape;896;p2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97" name="Google Shape;897;p26:notes"/>
          <p:cNvSpPr txBox="1">
            <a:spLocks noGrp="1"/>
          </p:cNvSpPr>
          <p:nvPr>
            <p:ph type="body" idx="1"/>
          </p:nvPr>
        </p:nvSpPr>
        <p:spPr>
          <a:xfrm>
            <a:off x="1218972" y="5106424"/>
            <a:ext cx="5045539"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898" name="Google Shape;898;p26: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9</a:t>
            </a:fld>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3"/>
        <p:cNvGrpSpPr/>
        <p:nvPr/>
      </p:nvGrpSpPr>
      <p:grpSpPr>
        <a:xfrm>
          <a:off x="0" y="0"/>
          <a:ext cx="0" cy="0"/>
          <a:chOff x="0" y="0"/>
          <a:chExt cx="0" cy="0"/>
        </a:xfrm>
      </p:grpSpPr>
      <p:sp>
        <p:nvSpPr>
          <p:cNvPr id="924" name="Google Shape;924;g14384bf8b8a_2_133: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25" name="Google Shape;925;g14384bf8b8a_2_133: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a:solidFill>
                <a:schemeClr val="tx1"/>
              </a:solidFill>
              <a:latin typeface="Meiryo UI" panose="020B0604030504040204" pitchFamily="50" charset="-128"/>
              <a:ea typeface="Meiryo UI" panose="020B0604030504040204" pitchFamily="50" charset="-128"/>
            </a:endParaRPr>
          </a:p>
        </p:txBody>
      </p:sp>
      <p:sp>
        <p:nvSpPr>
          <p:cNvPr id="926" name="Google Shape;926;g14384bf8b8a_2_133: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80</a:t>
            </a:fld>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0"/>
        <p:cNvGrpSpPr/>
        <p:nvPr/>
      </p:nvGrpSpPr>
      <p:grpSpPr>
        <a:xfrm>
          <a:off x="0" y="0"/>
          <a:ext cx="0" cy="0"/>
          <a:chOff x="0" y="0"/>
          <a:chExt cx="0" cy="0"/>
        </a:xfrm>
      </p:grpSpPr>
      <p:sp>
        <p:nvSpPr>
          <p:cNvPr id="951" name="Google Shape;951;g14384bf8b8a_2_163: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2" name="Google Shape;952;g14384bf8b8a_2_163: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953" name="Google Shape;953;g14384bf8b8a_2_163: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81</a:t>
            </a:fld>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4"/>
        <p:cNvGrpSpPr/>
        <p:nvPr/>
      </p:nvGrpSpPr>
      <p:grpSpPr>
        <a:xfrm>
          <a:off x="0" y="0"/>
          <a:ext cx="0" cy="0"/>
          <a:chOff x="0" y="0"/>
          <a:chExt cx="0" cy="0"/>
        </a:xfrm>
      </p:grpSpPr>
      <p:sp>
        <p:nvSpPr>
          <p:cNvPr id="985" name="Google Shape;985;g14384bf8b8a_2_194: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6" name="Google Shape;986;g14384bf8b8a_2_194: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a:solidFill>
                <a:schemeClr val="tx1"/>
              </a:solidFill>
              <a:latin typeface="Meiryo UI" panose="020B0604030504040204" pitchFamily="50" charset="-128"/>
              <a:ea typeface="Meiryo UI" panose="020B0604030504040204" pitchFamily="50" charset="-128"/>
            </a:endParaRPr>
          </a:p>
          <a:p>
            <a:pPr marL="0" lvl="0" indent="0" algn="l" rtl="0">
              <a:spcBef>
                <a:spcPts val="0"/>
              </a:spcBef>
              <a:spcAft>
                <a:spcPts val="0"/>
              </a:spcAft>
              <a:buNone/>
            </a:pPr>
            <a:endParaRPr sz="1200">
              <a:solidFill>
                <a:schemeClr val="tx1"/>
              </a:solidFill>
              <a:latin typeface="Meiryo UI" panose="020B0604030504040204" pitchFamily="50" charset="-128"/>
              <a:ea typeface="Meiryo UI" panose="020B0604030504040204" pitchFamily="50" charset="-128"/>
            </a:endParaRPr>
          </a:p>
        </p:txBody>
      </p:sp>
      <p:sp>
        <p:nvSpPr>
          <p:cNvPr id="987" name="Google Shape;987;g14384bf8b8a_2_194: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82</a:t>
            </a:fld>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5"/>
        <p:cNvGrpSpPr/>
        <p:nvPr/>
      </p:nvGrpSpPr>
      <p:grpSpPr>
        <a:xfrm>
          <a:off x="0" y="0"/>
          <a:ext cx="0" cy="0"/>
          <a:chOff x="0" y="0"/>
          <a:chExt cx="0" cy="0"/>
        </a:xfrm>
      </p:grpSpPr>
      <p:sp>
        <p:nvSpPr>
          <p:cNvPr id="1006" name="Google Shape;1006;g143eb037c4f_1_5: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07" name="Google Shape;1007;g143eb037c4f_1_5: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a:solidFill>
                <a:schemeClr val="tx1"/>
              </a:solidFill>
              <a:latin typeface="Meiryo UI" panose="020B0604030504040204" pitchFamily="50" charset="-128"/>
              <a:ea typeface="Meiryo UI" panose="020B0604030504040204" pitchFamily="50" charset="-128"/>
            </a:endParaRPr>
          </a:p>
        </p:txBody>
      </p:sp>
      <p:sp>
        <p:nvSpPr>
          <p:cNvPr id="1008" name="Google Shape;1008;g143eb037c4f_1_5: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83</a:t>
            </a:fld>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6"/>
        <p:cNvGrpSpPr/>
        <p:nvPr/>
      </p:nvGrpSpPr>
      <p:grpSpPr>
        <a:xfrm>
          <a:off x="0" y="0"/>
          <a:ext cx="0" cy="0"/>
          <a:chOff x="0" y="0"/>
          <a:chExt cx="0" cy="0"/>
        </a:xfrm>
      </p:grpSpPr>
      <p:sp>
        <p:nvSpPr>
          <p:cNvPr id="1027" name="Google Shape;1027;g143eb037c4f_1_35: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28" name="Google Shape;1028;g143eb037c4f_1_35: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a:solidFill>
                <a:schemeClr val="tx1"/>
              </a:solidFill>
              <a:latin typeface="Meiryo UI" panose="020B0604030504040204" pitchFamily="50" charset="-128"/>
              <a:ea typeface="Meiryo UI" panose="020B0604030504040204" pitchFamily="50" charset="-128"/>
            </a:endParaRPr>
          </a:p>
        </p:txBody>
      </p:sp>
      <p:sp>
        <p:nvSpPr>
          <p:cNvPr id="1029" name="Google Shape;1029;g143eb037c4f_1_35: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84</a:t>
            </a:fld>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6"/>
        <p:cNvGrpSpPr/>
        <p:nvPr/>
      </p:nvGrpSpPr>
      <p:grpSpPr>
        <a:xfrm>
          <a:off x="0" y="0"/>
          <a:ext cx="0" cy="0"/>
          <a:chOff x="0" y="0"/>
          <a:chExt cx="0" cy="0"/>
        </a:xfrm>
      </p:grpSpPr>
      <p:sp>
        <p:nvSpPr>
          <p:cNvPr id="1057" name="Google Shape;1057;g143eb037c4f_1_81: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58" name="Google Shape;1058;g143eb037c4f_1_81: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a:solidFill>
                <a:schemeClr val="tx1"/>
              </a:solidFill>
              <a:latin typeface="Meiryo UI" panose="020B0604030504040204" pitchFamily="50" charset="-128"/>
              <a:ea typeface="Meiryo UI" panose="020B0604030504040204" pitchFamily="50" charset="-128"/>
            </a:endParaRPr>
          </a:p>
        </p:txBody>
      </p:sp>
      <p:sp>
        <p:nvSpPr>
          <p:cNvPr id="1059" name="Google Shape;1059;g143eb037c4f_1_81: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85</a:t>
            </a:fld>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1"/>
        <p:cNvGrpSpPr/>
        <p:nvPr/>
      </p:nvGrpSpPr>
      <p:grpSpPr>
        <a:xfrm>
          <a:off x="0" y="0"/>
          <a:ext cx="0" cy="0"/>
          <a:chOff x="0" y="0"/>
          <a:chExt cx="0" cy="0"/>
        </a:xfrm>
      </p:grpSpPr>
      <p:sp>
        <p:nvSpPr>
          <p:cNvPr id="1082" name="Google Shape;1082;g143eb037c4f_1_105: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3" name="Google Shape;1083;g143eb037c4f_1_105: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a:solidFill>
                <a:schemeClr val="tx1"/>
              </a:solidFill>
              <a:latin typeface="Meiryo UI" panose="020B0604030504040204" pitchFamily="50" charset="-128"/>
              <a:ea typeface="Meiryo UI" panose="020B0604030504040204" pitchFamily="50" charset="-128"/>
            </a:endParaRPr>
          </a:p>
        </p:txBody>
      </p:sp>
      <p:sp>
        <p:nvSpPr>
          <p:cNvPr id="1084" name="Google Shape;1084;g143eb037c4f_1_105: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86</a:t>
            </a:fld>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4"/>
        <p:cNvGrpSpPr/>
        <p:nvPr/>
      </p:nvGrpSpPr>
      <p:grpSpPr>
        <a:xfrm>
          <a:off x="0" y="0"/>
          <a:ext cx="0" cy="0"/>
          <a:chOff x="0" y="0"/>
          <a:chExt cx="0" cy="0"/>
        </a:xfrm>
      </p:grpSpPr>
      <p:sp>
        <p:nvSpPr>
          <p:cNvPr id="1115" name="Google Shape;1115;g143eb037c4f_1_137: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6" name="Google Shape;1116;g143eb037c4f_1_137: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a:solidFill>
                <a:schemeClr val="tx1"/>
              </a:solidFill>
              <a:latin typeface="Meiryo UI" panose="020B0604030504040204" pitchFamily="50" charset="-128"/>
              <a:ea typeface="Meiryo UI" panose="020B0604030504040204" pitchFamily="50" charset="-128"/>
            </a:endParaRPr>
          </a:p>
        </p:txBody>
      </p:sp>
      <p:sp>
        <p:nvSpPr>
          <p:cNvPr id="1117" name="Google Shape;1117;g143eb037c4f_1_137: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87</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
        <p:cNvGrpSpPr/>
        <p:nvPr/>
      </p:nvGrpSpPr>
      <p:grpSpPr>
        <a:xfrm>
          <a:off x="0" y="0"/>
          <a:ext cx="0" cy="0"/>
          <a:chOff x="0" y="0"/>
          <a:chExt cx="0" cy="0"/>
        </a:xfrm>
      </p:grpSpPr>
      <p:sp>
        <p:nvSpPr>
          <p:cNvPr id="112" name="Google Shape;112;p5: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4" name="Google Shape;114;p5: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2</a:t>
            </a:fld>
            <a:endParaRPr/>
          </a:p>
        </p:txBody>
      </p:sp>
      <p:sp>
        <p:nvSpPr>
          <p:cNvPr id="3" name="ノート プレースホルダー 2">
            <a:extLst>
              <a:ext uri="{FF2B5EF4-FFF2-40B4-BE49-F238E27FC236}">
                <a16:creationId xmlns:a16="http://schemas.microsoft.com/office/drawing/2014/main" id="{FA3DEA47-E419-4B21-B0A5-7B0BB7E51A59}"/>
              </a:ext>
            </a:extLst>
          </p:cNvPr>
          <p:cNvSpPr>
            <a:spLocks noGrp="1"/>
          </p:cNvSpPr>
          <p:nvPr>
            <p:ph type="body" idx="1"/>
          </p:nvPr>
        </p:nvSpPr>
        <p:spPr/>
        <p:txBody>
          <a:bodyPr/>
          <a:lstStyle/>
          <a:p>
            <a:endParaRPr lang="ja-JP" alt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7"/>
        <p:cNvGrpSpPr/>
        <p:nvPr/>
      </p:nvGrpSpPr>
      <p:grpSpPr>
        <a:xfrm>
          <a:off x="0" y="0"/>
          <a:ext cx="0" cy="0"/>
          <a:chOff x="0" y="0"/>
          <a:chExt cx="0" cy="0"/>
        </a:xfrm>
      </p:grpSpPr>
      <p:sp>
        <p:nvSpPr>
          <p:cNvPr id="1328" name="Google Shape;1328;p27: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29" name="Google Shape;1329;p27:notes"/>
          <p:cNvSpPr txBox="1">
            <a:spLocks noGrp="1"/>
          </p:cNvSpPr>
          <p:nvPr>
            <p:ph type="body" idx="1"/>
          </p:nvPr>
        </p:nvSpPr>
        <p:spPr>
          <a:xfrm>
            <a:off x="1218972" y="5119031"/>
            <a:ext cx="5045539" cy="2155032"/>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1330" name="Google Shape;1330;p27: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88</a:t>
            </a:fld>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6"/>
        <p:cNvGrpSpPr/>
        <p:nvPr/>
      </p:nvGrpSpPr>
      <p:grpSpPr>
        <a:xfrm>
          <a:off x="0" y="0"/>
          <a:ext cx="0" cy="0"/>
          <a:chOff x="0" y="0"/>
          <a:chExt cx="0" cy="0"/>
        </a:xfrm>
      </p:grpSpPr>
      <p:sp>
        <p:nvSpPr>
          <p:cNvPr id="1387" name="Google Shape;1387;p28: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88" name="Google Shape;1388;p28:notes"/>
          <p:cNvSpPr txBox="1">
            <a:spLocks noGrp="1"/>
          </p:cNvSpPr>
          <p:nvPr>
            <p:ph type="body" idx="1"/>
          </p:nvPr>
        </p:nvSpPr>
        <p:spPr>
          <a:xfrm>
            <a:off x="1218972" y="5119031"/>
            <a:ext cx="5045539" cy="2155032"/>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a:solidFill>
                <a:schemeClr val="tx1"/>
              </a:solidFill>
              <a:latin typeface="Meiryo UI" panose="020B0604030504040204" pitchFamily="50" charset="-128"/>
              <a:ea typeface="Meiryo UI" panose="020B0604030504040204" pitchFamily="50" charset="-128"/>
            </a:endParaRPr>
          </a:p>
        </p:txBody>
      </p:sp>
      <p:sp>
        <p:nvSpPr>
          <p:cNvPr id="1389" name="Google Shape;1389;p28: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89</a:t>
            </a:fld>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4"/>
        <p:cNvGrpSpPr/>
        <p:nvPr/>
      </p:nvGrpSpPr>
      <p:grpSpPr>
        <a:xfrm>
          <a:off x="0" y="0"/>
          <a:ext cx="0" cy="0"/>
          <a:chOff x="0" y="0"/>
          <a:chExt cx="0" cy="0"/>
        </a:xfrm>
      </p:grpSpPr>
      <p:sp>
        <p:nvSpPr>
          <p:cNvPr id="1435" name="Google Shape;1435;p34: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36" name="Google Shape;1436;p34:notes"/>
          <p:cNvSpPr txBox="1">
            <a:spLocks noGrp="1"/>
          </p:cNvSpPr>
          <p:nvPr>
            <p:ph type="body" idx="1"/>
          </p:nvPr>
        </p:nvSpPr>
        <p:spPr>
          <a:xfrm>
            <a:off x="673976" y="4748838"/>
            <a:ext cx="5387811" cy="3885223"/>
          </a:xfrm>
          <a:prstGeom prst="rect">
            <a:avLst/>
          </a:prstGeom>
          <a:noFill/>
          <a:ln>
            <a:noFill/>
          </a:ln>
        </p:spPr>
        <p:txBody>
          <a:bodyPr spcFirstLastPara="1" wrap="square" lIns="83125" tIns="41550" rIns="83125" bIns="41550" anchor="t" anchorCtr="0">
            <a:noAutofit/>
          </a:bodyPr>
          <a:lstStyle/>
          <a:p>
            <a:pPr marL="0" lvl="0" indent="0" algn="l" rtl="0">
              <a:spcBef>
                <a:spcPts val="0"/>
              </a:spcBef>
              <a:spcAft>
                <a:spcPts val="0"/>
              </a:spcAft>
              <a:buNone/>
            </a:pPr>
            <a:endParaRPr sz="1200">
              <a:solidFill>
                <a:schemeClr val="tx1"/>
              </a:solidFill>
              <a:latin typeface="Meiryo UI" panose="020B0604030504040204" pitchFamily="50" charset="-128"/>
              <a:ea typeface="Meiryo UI" panose="020B0604030504040204" pitchFamily="50" charset="-128"/>
            </a:endParaRPr>
          </a:p>
        </p:txBody>
      </p:sp>
      <p:sp>
        <p:nvSpPr>
          <p:cNvPr id="1437" name="Google Shape;1437;p34:notes"/>
          <p:cNvSpPr txBox="1">
            <a:spLocks noGrp="1"/>
          </p:cNvSpPr>
          <p:nvPr>
            <p:ph type="sldNum" idx="12"/>
          </p:nvPr>
        </p:nvSpPr>
        <p:spPr>
          <a:xfrm>
            <a:off x="3815868" y="9371342"/>
            <a:ext cx="2917897" cy="494971"/>
          </a:xfrm>
          <a:prstGeom prst="rect">
            <a:avLst/>
          </a:prstGeom>
          <a:noFill/>
          <a:ln>
            <a:noFill/>
          </a:ln>
        </p:spPr>
        <p:txBody>
          <a:bodyPr spcFirstLastPara="1" wrap="square" lIns="83125" tIns="41550" rIns="83125" bIns="41550" anchor="b" anchorCtr="0">
            <a:noAutofit/>
          </a:bodyPr>
          <a:lstStyle/>
          <a:p>
            <a:pPr marL="0" lvl="0" indent="0" algn="r" rtl="0">
              <a:spcBef>
                <a:spcPts val="0"/>
              </a:spcBef>
              <a:spcAft>
                <a:spcPts val="0"/>
              </a:spcAft>
              <a:buNone/>
            </a:pPr>
            <a:fld id="{00000000-1234-1234-1234-123412341234}" type="slidenum">
              <a:rPr lang="en-US" altLang="ja-JP"/>
              <a:t>90</a:t>
            </a:fld>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2"/>
        <p:cNvGrpSpPr/>
        <p:nvPr/>
      </p:nvGrpSpPr>
      <p:grpSpPr>
        <a:xfrm>
          <a:off x="0" y="0"/>
          <a:ext cx="0" cy="0"/>
          <a:chOff x="0" y="0"/>
          <a:chExt cx="0" cy="0"/>
        </a:xfrm>
      </p:grpSpPr>
      <p:sp>
        <p:nvSpPr>
          <p:cNvPr id="1463" name="Google Shape;1463;g1445ac9894b_0_0: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64" name="Google Shape;1464;g1445ac9894b_0_0: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1465" name="Google Shape;1465;g1445ac9894b_0_0: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91</a:t>
            </a:fld>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3"/>
        <p:cNvGrpSpPr/>
        <p:nvPr/>
      </p:nvGrpSpPr>
      <p:grpSpPr>
        <a:xfrm>
          <a:off x="0" y="0"/>
          <a:ext cx="0" cy="0"/>
          <a:chOff x="0" y="0"/>
          <a:chExt cx="0" cy="0"/>
        </a:xfrm>
      </p:grpSpPr>
      <p:sp>
        <p:nvSpPr>
          <p:cNvPr id="1494" name="Google Shape;1494;g1445ac9894b_0_58: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95" name="Google Shape;1495;g1445ac9894b_0_58: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a:solidFill>
                <a:schemeClr val="tx1"/>
              </a:solidFill>
              <a:latin typeface="Meiryo UI" panose="020B0604030504040204" pitchFamily="50" charset="-128"/>
              <a:ea typeface="Meiryo UI" panose="020B0604030504040204" pitchFamily="50" charset="-128"/>
            </a:endParaRPr>
          </a:p>
        </p:txBody>
      </p:sp>
      <p:sp>
        <p:nvSpPr>
          <p:cNvPr id="1496" name="Google Shape;1496;g1445ac9894b_0_58: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92</a:t>
            </a:fld>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5"/>
        <p:cNvGrpSpPr/>
        <p:nvPr/>
      </p:nvGrpSpPr>
      <p:grpSpPr>
        <a:xfrm>
          <a:off x="0" y="0"/>
          <a:ext cx="0" cy="0"/>
          <a:chOff x="0" y="0"/>
          <a:chExt cx="0" cy="0"/>
        </a:xfrm>
      </p:grpSpPr>
      <p:sp>
        <p:nvSpPr>
          <p:cNvPr id="1516" name="Google Shape;1516;g1445ac9894b_0_79: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17" name="Google Shape;1517;g1445ac9894b_0_79: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1518" name="Google Shape;1518;g1445ac9894b_0_79: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93</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
        <p:cNvGrpSpPr/>
        <p:nvPr/>
      </p:nvGrpSpPr>
      <p:grpSpPr>
        <a:xfrm>
          <a:off x="0" y="0"/>
          <a:ext cx="0" cy="0"/>
          <a:chOff x="0" y="0"/>
          <a:chExt cx="0" cy="0"/>
        </a:xfrm>
      </p:grpSpPr>
      <p:sp>
        <p:nvSpPr>
          <p:cNvPr id="139" name="Google Shape;139;g1445ac9894b_0_105: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1" name="Google Shape;141;g1445ac9894b_0_105: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53</a:t>
            </a:fld>
            <a:endParaRPr/>
          </a:p>
        </p:txBody>
      </p:sp>
      <p:sp>
        <p:nvSpPr>
          <p:cNvPr id="3" name="ノート プレースホルダー 2">
            <a:extLst>
              <a:ext uri="{FF2B5EF4-FFF2-40B4-BE49-F238E27FC236}">
                <a16:creationId xmlns:a16="http://schemas.microsoft.com/office/drawing/2014/main" id="{19AB9CAB-C3EC-49EB-BB6A-4E6BFC2EA100}"/>
              </a:ext>
            </a:extLst>
          </p:cNvPr>
          <p:cNvSpPr>
            <a:spLocks noGrp="1"/>
          </p:cNvSpPr>
          <p:nvPr>
            <p:ph type="body" idx="1"/>
          </p:nvPr>
        </p:nvSpPr>
        <p:spPr/>
        <p:txBody>
          <a:bodyPr/>
          <a:lstStyle/>
          <a:p>
            <a:endParaRPr lang="ja-JP"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
        <p:cNvGrpSpPr/>
        <p:nvPr/>
      </p:nvGrpSpPr>
      <p:grpSpPr>
        <a:xfrm>
          <a:off x="0" y="0"/>
          <a:ext cx="0" cy="0"/>
          <a:chOff x="0" y="0"/>
          <a:chExt cx="0" cy="0"/>
        </a:xfrm>
      </p:grpSpPr>
      <p:sp>
        <p:nvSpPr>
          <p:cNvPr id="185" name="Google Shape;185;p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7" name="Google Shape;187;p6:notes"/>
          <p:cNvSpPr txBox="1">
            <a:spLocks noGrp="1"/>
          </p:cNvSpPr>
          <p:nvPr>
            <p:ph type="sldNum" idx="12"/>
          </p:nvPr>
        </p:nvSpPr>
        <p:spPr>
          <a:xfrm>
            <a:off x="4239456" y="10082311"/>
            <a:ext cx="3241917" cy="532459"/>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4</a:t>
            </a:fld>
            <a:endParaRPr/>
          </a:p>
        </p:txBody>
      </p:sp>
      <p:sp>
        <p:nvSpPr>
          <p:cNvPr id="3" name="ノート プレースホルダー 2">
            <a:extLst>
              <a:ext uri="{FF2B5EF4-FFF2-40B4-BE49-F238E27FC236}">
                <a16:creationId xmlns:a16="http://schemas.microsoft.com/office/drawing/2014/main" id="{26A82369-9B87-426A-91DE-4C24FC5C80E6}"/>
              </a:ext>
            </a:extLst>
          </p:cNvPr>
          <p:cNvSpPr>
            <a:spLocks noGrp="1"/>
          </p:cNvSpPr>
          <p:nvPr>
            <p:ph type="body" idx="1"/>
          </p:nvPr>
        </p:nvSpPr>
        <p:spPr/>
        <p:txBody>
          <a:bodyPr/>
          <a:lstStyle/>
          <a:p>
            <a:endParaRPr lang="ja-JP"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1"/>
        <p:cNvGrpSpPr/>
        <p:nvPr/>
      </p:nvGrpSpPr>
      <p:grpSpPr>
        <a:xfrm>
          <a:off x="0" y="0"/>
          <a:ext cx="0" cy="0"/>
          <a:chOff x="0" y="0"/>
          <a:chExt cx="0" cy="0"/>
        </a:xfrm>
      </p:grpSpPr>
      <p:sp>
        <p:nvSpPr>
          <p:cNvPr id="212" name="Google Shape;212;g143519c7921_0_20: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4" name="Google Shape;214;g143519c7921_0_20: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55</a:t>
            </a:fld>
            <a:endParaRPr/>
          </a:p>
        </p:txBody>
      </p:sp>
      <p:sp>
        <p:nvSpPr>
          <p:cNvPr id="3" name="ノート プレースホルダー 2">
            <a:extLst>
              <a:ext uri="{FF2B5EF4-FFF2-40B4-BE49-F238E27FC236}">
                <a16:creationId xmlns:a16="http://schemas.microsoft.com/office/drawing/2014/main" id="{67701469-9F4F-495E-B17D-E60E62EC9E72}"/>
              </a:ext>
            </a:extLst>
          </p:cNvPr>
          <p:cNvSpPr>
            <a:spLocks noGrp="1"/>
          </p:cNvSpPr>
          <p:nvPr>
            <p:ph type="body" idx="1"/>
          </p:nvPr>
        </p:nvSpPr>
        <p:spPr/>
        <p:txBody>
          <a:bodyPr/>
          <a:lstStyle/>
          <a:p>
            <a:endParaRPr lang="ja-JP"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
        <p:cNvGrpSpPr/>
        <p:nvPr/>
      </p:nvGrpSpPr>
      <p:grpSpPr>
        <a:xfrm>
          <a:off x="0" y="0"/>
          <a:ext cx="0" cy="0"/>
          <a:chOff x="0" y="0"/>
          <a:chExt cx="0" cy="0"/>
        </a:xfrm>
      </p:grpSpPr>
      <p:sp>
        <p:nvSpPr>
          <p:cNvPr id="233" name="Google Shape;233;p7: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5" name="Google Shape;235;p7:notes"/>
          <p:cNvSpPr txBox="1">
            <a:spLocks noGrp="1"/>
          </p:cNvSpPr>
          <p:nvPr>
            <p:ph type="sldNum" idx="12"/>
          </p:nvPr>
        </p:nvSpPr>
        <p:spPr>
          <a:xfrm>
            <a:off x="4239456" y="10082311"/>
            <a:ext cx="3241917" cy="532459"/>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6</a:t>
            </a:fld>
            <a:endParaRPr/>
          </a:p>
        </p:txBody>
      </p:sp>
      <p:sp>
        <p:nvSpPr>
          <p:cNvPr id="3" name="ノート プレースホルダー 2">
            <a:extLst>
              <a:ext uri="{FF2B5EF4-FFF2-40B4-BE49-F238E27FC236}">
                <a16:creationId xmlns:a16="http://schemas.microsoft.com/office/drawing/2014/main" id="{35993581-0191-4485-9ACC-72A164E2C20B}"/>
              </a:ext>
            </a:extLst>
          </p:cNvPr>
          <p:cNvSpPr>
            <a:spLocks noGrp="1"/>
          </p:cNvSpPr>
          <p:nvPr>
            <p:ph type="body" idx="1"/>
          </p:nvPr>
        </p:nvSpPr>
        <p:spPr/>
        <p:txBody>
          <a:bodyPr/>
          <a:lstStyle/>
          <a:p>
            <a:endParaRPr lang="ja-JP"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3"/>
        <p:cNvGrpSpPr/>
        <p:nvPr/>
      </p:nvGrpSpPr>
      <p:grpSpPr>
        <a:xfrm>
          <a:off x="0" y="0"/>
          <a:ext cx="0" cy="0"/>
          <a:chOff x="0" y="0"/>
          <a:chExt cx="0" cy="0"/>
        </a:xfrm>
      </p:grpSpPr>
      <p:sp>
        <p:nvSpPr>
          <p:cNvPr id="264" name="Google Shape;264;g143519c7921_0_87: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6" name="Google Shape;266;g143519c7921_0_87: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57</a:t>
            </a:fld>
            <a:endParaRPr/>
          </a:p>
        </p:txBody>
      </p:sp>
      <p:sp>
        <p:nvSpPr>
          <p:cNvPr id="3" name="ノート プレースホルダー 2">
            <a:extLst>
              <a:ext uri="{FF2B5EF4-FFF2-40B4-BE49-F238E27FC236}">
                <a16:creationId xmlns:a16="http://schemas.microsoft.com/office/drawing/2014/main" id="{D7CA181E-3072-4E85-B570-D4AE6AC6FEF9}"/>
              </a:ext>
            </a:extLst>
          </p:cNvPr>
          <p:cNvSpPr>
            <a:spLocks noGrp="1"/>
          </p:cNvSpPr>
          <p:nvPr>
            <p:ph type="body" idx="1"/>
          </p:nvPr>
        </p:nvSpPr>
        <p:spPr/>
        <p:txBody>
          <a:bodyPr/>
          <a:lstStyle/>
          <a:p>
            <a:endParaRPr lang="ja-JP"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_タイトル スライド">
  <p:cSld name="1_タイトル スライド">
    <p:spTree>
      <p:nvGrpSpPr>
        <p:cNvPr id="1" name="Shape 15"/>
        <p:cNvGrpSpPr/>
        <p:nvPr/>
      </p:nvGrpSpPr>
      <p:grpSpPr>
        <a:xfrm>
          <a:off x="0" y="0"/>
          <a:ext cx="0" cy="0"/>
          <a:chOff x="0" y="0"/>
          <a:chExt cx="0" cy="0"/>
        </a:xfrm>
      </p:grpSpPr>
      <p:cxnSp>
        <p:nvCxnSpPr>
          <p:cNvPr id="16" name="Google Shape;16;p39"/>
          <p:cNvCxnSpPr/>
          <p:nvPr/>
        </p:nvCxnSpPr>
        <p:spPr>
          <a:xfrm>
            <a:off x="252000" y="1270000"/>
            <a:ext cx="8640000" cy="0"/>
          </a:xfrm>
          <a:prstGeom prst="straightConnector1">
            <a:avLst/>
          </a:prstGeom>
          <a:noFill/>
          <a:ln w="19050" cap="flat" cmpd="sng">
            <a:solidFill>
              <a:srgbClr val="009650"/>
            </a:solidFill>
            <a:prstDash val="solid"/>
            <a:round/>
            <a:headEnd type="none" w="sm" len="sm"/>
            <a:tailEnd type="none" w="sm" len="sm"/>
          </a:ln>
        </p:spPr>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17"/>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18"/>
        <p:cNvGrpSpPr/>
        <p:nvPr/>
      </p:nvGrpSpPr>
      <p:grpSpPr>
        <a:xfrm>
          <a:off x="0" y="0"/>
          <a:ext cx="0" cy="0"/>
          <a:chOff x="0" y="0"/>
          <a:chExt cx="0" cy="0"/>
        </a:xfrm>
      </p:grpSpPr>
      <p:sp>
        <p:nvSpPr>
          <p:cNvPr id="19" name="Google Shape;19;p43"/>
          <p:cNvSpPr txBox="1">
            <a:spLocks noGrp="1"/>
          </p:cNvSpPr>
          <p:nvPr>
            <p:ph type="ctrTitle"/>
          </p:nvPr>
        </p:nvSpPr>
        <p:spPr>
          <a:xfrm>
            <a:off x="1784498" y="516168"/>
            <a:ext cx="6682225" cy="540000"/>
          </a:xfrm>
          <a:prstGeom prst="rect">
            <a:avLst/>
          </a:prstGeom>
          <a:noFill/>
          <a:ln>
            <a:noFill/>
          </a:ln>
        </p:spPr>
        <p:txBody>
          <a:bodyPr spcFirstLastPara="1" wrap="square" lIns="91425" tIns="45700" rIns="91425" bIns="45700" anchor="b" anchorCtr="0">
            <a:normAutofit/>
          </a:bodyPr>
          <a:lstStyle>
            <a:lvl1pPr marR="0" lvl="0" algn="l" rtl="0">
              <a:spcBef>
                <a:spcPts val="0"/>
              </a:spcBef>
              <a:spcAft>
                <a:spcPts val="0"/>
              </a:spcAft>
              <a:buSzPts val="1400"/>
              <a:buNone/>
              <a:defRPr sz="3018" b="1" i="0" u="none" strike="noStrike" cap="none">
                <a:solidFill>
                  <a:srgbClr val="009650"/>
                </a:solidFill>
                <a:latin typeface="Meiryo"/>
                <a:ea typeface="Meiryo"/>
                <a:cs typeface="Meiryo"/>
                <a:sym typeface="Meiryo"/>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0" name="Google Shape;20;p43"/>
          <p:cNvSpPr txBox="1">
            <a:spLocks noGrp="1"/>
          </p:cNvSpPr>
          <p:nvPr>
            <p:ph type="subTitle" idx="1"/>
          </p:nvPr>
        </p:nvSpPr>
        <p:spPr>
          <a:xfrm>
            <a:off x="1789611" y="1409398"/>
            <a:ext cx="6682225" cy="348237"/>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2263"/>
              <a:buFont typeface="Meiryo"/>
              <a:buNone/>
              <a:defRPr sz="2263" b="1" i="0" u="none" strike="noStrike" cap="none">
                <a:latin typeface="Meiryo"/>
                <a:ea typeface="Meiryo"/>
                <a:cs typeface="Meiryo"/>
                <a:sym typeface="Meiryo"/>
              </a:defRPr>
            </a:lvl1pPr>
            <a:lvl2pPr marR="0" lvl="1" algn="ctr" rtl="0">
              <a:spcBef>
                <a:spcPts val="0"/>
              </a:spcBef>
              <a:spcAft>
                <a:spcPts val="0"/>
              </a:spcAft>
              <a:buSzPts val="1884"/>
              <a:buFont typeface="Calibri"/>
              <a:buNone/>
              <a:defRPr sz="1884" b="0" i="0" u="none" strike="noStrike" cap="none">
                <a:latin typeface="Calibri"/>
                <a:ea typeface="Calibri"/>
                <a:cs typeface="Calibri"/>
                <a:sym typeface="Calibri"/>
              </a:defRPr>
            </a:lvl2pPr>
            <a:lvl3pPr marR="0" lvl="2" algn="ctr" rtl="0">
              <a:spcBef>
                <a:spcPts val="0"/>
              </a:spcBef>
              <a:spcAft>
                <a:spcPts val="0"/>
              </a:spcAft>
              <a:buSzPts val="1697"/>
              <a:buFont typeface="Calibri"/>
              <a:buNone/>
              <a:defRPr sz="1696" b="0" i="0" u="none" strike="noStrike" cap="none">
                <a:latin typeface="Calibri"/>
                <a:ea typeface="Calibri"/>
                <a:cs typeface="Calibri"/>
                <a:sym typeface="Calibri"/>
              </a:defRPr>
            </a:lvl3pPr>
            <a:lvl4pPr marR="0" lvl="3" algn="ctr" rtl="0">
              <a:spcBef>
                <a:spcPts val="0"/>
              </a:spcBef>
              <a:spcAft>
                <a:spcPts val="0"/>
              </a:spcAft>
              <a:buSzPts val="1508"/>
              <a:buFont typeface="Calibri"/>
              <a:buNone/>
              <a:defRPr sz="1508" b="0" i="0" u="none" strike="noStrike" cap="none">
                <a:latin typeface="Calibri"/>
                <a:ea typeface="Calibri"/>
                <a:cs typeface="Calibri"/>
                <a:sym typeface="Calibri"/>
              </a:defRPr>
            </a:lvl4pPr>
            <a:lvl5pPr marR="0" lvl="4" algn="ctr" rtl="0">
              <a:spcBef>
                <a:spcPts val="0"/>
              </a:spcBef>
              <a:spcAft>
                <a:spcPts val="0"/>
              </a:spcAft>
              <a:buSzPts val="1508"/>
              <a:buFont typeface="Calibri"/>
              <a:buNone/>
              <a:defRPr sz="1508" b="0" i="0" u="none" strike="noStrike" cap="none">
                <a:latin typeface="Calibri"/>
                <a:ea typeface="Calibri"/>
                <a:cs typeface="Calibri"/>
                <a:sym typeface="Calibri"/>
              </a:defRPr>
            </a:lvl5pPr>
            <a:lvl6pPr marR="0" lvl="5" algn="ctr" rtl="0">
              <a:spcBef>
                <a:spcPts val="0"/>
              </a:spcBef>
              <a:spcAft>
                <a:spcPts val="0"/>
              </a:spcAft>
              <a:buSzPts val="1508"/>
              <a:buFont typeface="Calibri"/>
              <a:buNone/>
              <a:defRPr sz="1508" b="0" i="0" u="none" strike="noStrike" cap="none">
                <a:latin typeface="Calibri"/>
                <a:ea typeface="Calibri"/>
                <a:cs typeface="Calibri"/>
                <a:sym typeface="Calibri"/>
              </a:defRPr>
            </a:lvl6pPr>
            <a:lvl7pPr marR="0" lvl="6" algn="ctr" rtl="0">
              <a:spcBef>
                <a:spcPts val="0"/>
              </a:spcBef>
              <a:spcAft>
                <a:spcPts val="0"/>
              </a:spcAft>
              <a:buSzPts val="1508"/>
              <a:buFont typeface="Calibri"/>
              <a:buNone/>
              <a:defRPr sz="1508" b="0" i="0" u="none" strike="noStrike" cap="none">
                <a:latin typeface="Calibri"/>
                <a:ea typeface="Calibri"/>
                <a:cs typeface="Calibri"/>
                <a:sym typeface="Calibri"/>
              </a:defRPr>
            </a:lvl7pPr>
            <a:lvl8pPr marR="0" lvl="7" algn="ctr" rtl="0">
              <a:spcBef>
                <a:spcPts val="0"/>
              </a:spcBef>
              <a:spcAft>
                <a:spcPts val="0"/>
              </a:spcAft>
              <a:buSzPts val="1508"/>
              <a:buFont typeface="Calibri"/>
              <a:buNone/>
              <a:defRPr sz="1508" b="0" i="0" u="none" strike="noStrike" cap="none">
                <a:latin typeface="Calibri"/>
                <a:ea typeface="Calibri"/>
                <a:cs typeface="Calibri"/>
                <a:sym typeface="Calibri"/>
              </a:defRPr>
            </a:lvl8pPr>
            <a:lvl9pPr marR="0" lvl="8" algn="ctr" rtl="0">
              <a:spcBef>
                <a:spcPts val="0"/>
              </a:spcBef>
              <a:spcAft>
                <a:spcPts val="0"/>
              </a:spcAft>
              <a:buSzPts val="1508"/>
              <a:buFont typeface="Calibri"/>
              <a:buNone/>
              <a:defRPr sz="1508" b="0" i="0" u="none" strike="noStrike" cap="none">
                <a:latin typeface="Calibri"/>
                <a:ea typeface="Calibri"/>
                <a:cs typeface="Calibri"/>
                <a:sym typeface="Calibri"/>
              </a:defRPr>
            </a:lvl9pPr>
          </a:lstStyle>
          <a:p>
            <a:endParaRPr/>
          </a:p>
        </p:txBody>
      </p:sp>
      <p:cxnSp>
        <p:nvCxnSpPr>
          <p:cNvPr id="21" name="Google Shape;21;p43"/>
          <p:cNvCxnSpPr/>
          <p:nvPr/>
        </p:nvCxnSpPr>
        <p:spPr>
          <a:xfrm>
            <a:off x="242164" y="1250617"/>
            <a:ext cx="8640000" cy="0"/>
          </a:xfrm>
          <a:prstGeom prst="straightConnector1">
            <a:avLst/>
          </a:prstGeom>
          <a:noFill/>
          <a:ln w="19050" cap="flat" cmpd="sng">
            <a:solidFill>
              <a:srgbClr val="009650"/>
            </a:solidFill>
            <a:prstDash val="solid"/>
            <a:round/>
            <a:headEnd type="none" w="sm" len="sm"/>
            <a:tailEnd type="none" w="sm" len="sm"/>
          </a:ln>
        </p:spPr>
      </p:cxnSp>
      <p:cxnSp>
        <p:nvCxnSpPr>
          <p:cNvPr id="22" name="Google Shape;22;p43"/>
          <p:cNvCxnSpPr/>
          <p:nvPr/>
        </p:nvCxnSpPr>
        <p:spPr>
          <a:xfrm>
            <a:off x="1690688" y="1265237"/>
            <a:ext cx="0" cy="5220000"/>
          </a:xfrm>
          <a:prstGeom prst="straightConnector1">
            <a:avLst/>
          </a:prstGeom>
          <a:noFill/>
          <a:ln w="19050" cap="flat" cmpd="sng">
            <a:solidFill>
              <a:srgbClr val="009650"/>
            </a:solidFill>
            <a:prstDash val="solid"/>
            <a:round/>
            <a:headEnd type="none" w="sm" len="sm"/>
            <a:tailEnd type="none" w="sm" len="sm"/>
          </a:ln>
        </p:spPr>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3_Blank">
  <p:cSld name="3_Blank">
    <p:spTree>
      <p:nvGrpSpPr>
        <p:cNvPr id="1" name="Shape 23"/>
        <p:cNvGrpSpPr/>
        <p:nvPr/>
      </p:nvGrpSpPr>
      <p:grpSpPr>
        <a:xfrm>
          <a:off x="0" y="0"/>
          <a:ext cx="0" cy="0"/>
          <a:chOff x="0" y="0"/>
          <a:chExt cx="0" cy="0"/>
        </a:xfrm>
      </p:grpSpPr>
      <p:sp>
        <p:nvSpPr>
          <p:cNvPr id="24" name="Google Shape;24;p44"/>
          <p:cNvSpPr txBox="1">
            <a:spLocks noGrp="1"/>
          </p:cNvSpPr>
          <p:nvPr>
            <p:ph type="ctrTitle"/>
          </p:nvPr>
        </p:nvSpPr>
        <p:spPr>
          <a:xfrm>
            <a:off x="1784498" y="516168"/>
            <a:ext cx="6682225" cy="540000"/>
          </a:xfrm>
          <a:prstGeom prst="rect">
            <a:avLst/>
          </a:prstGeom>
          <a:noFill/>
          <a:ln>
            <a:noFill/>
          </a:ln>
        </p:spPr>
        <p:txBody>
          <a:bodyPr spcFirstLastPara="1" wrap="square" lIns="91425" tIns="45700" rIns="91425" bIns="45700" anchor="b" anchorCtr="0">
            <a:normAutofit/>
          </a:bodyPr>
          <a:lstStyle>
            <a:lvl1pPr marR="0" lvl="0" algn="l" rtl="0">
              <a:spcBef>
                <a:spcPts val="0"/>
              </a:spcBef>
              <a:spcAft>
                <a:spcPts val="0"/>
              </a:spcAft>
              <a:buSzPts val="1400"/>
              <a:buNone/>
              <a:defRPr sz="3018" b="1" i="0" u="none" strike="noStrike" cap="none">
                <a:solidFill>
                  <a:srgbClr val="009650"/>
                </a:solidFill>
                <a:latin typeface="Meiryo"/>
                <a:ea typeface="Meiryo"/>
                <a:cs typeface="Meiryo"/>
                <a:sym typeface="Meiryo"/>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5" name="Google Shape;25;p44"/>
          <p:cNvSpPr txBox="1">
            <a:spLocks noGrp="1"/>
          </p:cNvSpPr>
          <p:nvPr>
            <p:ph type="subTitle" idx="1"/>
          </p:nvPr>
        </p:nvSpPr>
        <p:spPr>
          <a:xfrm>
            <a:off x="524337" y="1409398"/>
            <a:ext cx="6682225" cy="348237"/>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2263"/>
              <a:buFont typeface="Meiryo"/>
              <a:buNone/>
              <a:defRPr sz="2263" b="1" i="0" u="none" strike="noStrike" cap="none">
                <a:latin typeface="Meiryo"/>
                <a:ea typeface="Meiryo"/>
                <a:cs typeface="Meiryo"/>
                <a:sym typeface="Meiryo"/>
              </a:defRPr>
            </a:lvl1pPr>
            <a:lvl2pPr marR="0" lvl="1" algn="ctr" rtl="0">
              <a:spcBef>
                <a:spcPts val="0"/>
              </a:spcBef>
              <a:spcAft>
                <a:spcPts val="0"/>
              </a:spcAft>
              <a:buSzPts val="1884"/>
              <a:buFont typeface="Calibri"/>
              <a:buNone/>
              <a:defRPr sz="1884" b="0" i="0" u="none" strike="noStrike" cap="none">
                <a:latin typeface="Calibri"/>
                <a:ea typeface="Calibri"/>
                <a:cs typeface="Calibri"/>
                <a:sym typeface="Calibri"/>
              </a:defRPr>
            </a:lvl2pPr>
            <a:lvl3pPr marR="0" lvl="2" algn="ctr" rtl="0">
              <a:spcBef>
                <a:spcPts val="0"/>
              </a:spcBef>
              <a:spcAft>
                <a:spcPts val="0"/>
              </a:spcAft>
              <a:buSzPts val="1697"/>
              <a:buFont typeface="Calibri"/>
              <a:buNone/>
              <a:defRPr sz="1696" b="0" i="0" u="none" strike="noStrike" cap="none">
                <a:latin typeface="Calibri"/>
                <a:ea typeface="Calibri"/>
                <a:cs typeface="Calibri"/>
                <a:sym typeface="Calibri"/>
              </a:defRPr>
            </a:lvl3pPr>
            <a:lvl4pPr marR="0" lvl="3" algn="ctr" rtl="0">
              <a:spcBef>
                <a:spcPts val="0"/>
              </a:spcBef>
              <a:spcAft>
                <a:spcPts val="0"/>
              </a:spcAft>
              <a:buSzPts val="1508"/>
              <a:buFont typeface="Calibri"/>
              <a:buNone/>
              <a:defRPr sz="1508" b="0" i="0" u="none" strike="noStrike" cap="none">
                <a:latin typeface="Calibri"/>
                <a:ea typeface="Calibri"/>
                <a:cs typeface="Calibri"/>
                <a:sym typeface="Calibri"/>
              </a:defRPr>
            </a:lvl4pPr>
            <a:lvl5pPr marR="0" lvl="4" algn="ctr" rtl="0">
              <a:spcBef>
                <a:spcPts val="0"/>
              </a:spcBef>
              <a:spcAft>
                <a:spcPts val="0"/>
              </a:spcAft>
              <a:buSzPts val="1508"/>
              <a:buFont typeface="Calibri"/>
              <a:buNone/>
              <a:defRPr sz="1508" b="0" i="0" u="none" strike="noStrike" cap="none">
                <a:latin typeface="Calibri"/>
                <a:ea typeface="Calibri"/>
                <a:cs typeface="Calibri"/>
                <a:sym typeface="Calibri"/>
              </a:defRPr>
            </a:lvl5pPr>
            <a:lvl6pPr marR="0" lvl="5" algn="ctr" rtl="0">
              <a:spcBef>
                <a:spcPts val="0"/>
              </a:spcBef>
              <a:spcAft>
                <a:spcPts val="0"/>
              </a:spcAft>
              <a:buSzPts val="1508"/>
              <a:buFont typeface="Calibri"/>
              <a:buNone/>
              <a:defRPr sz="1508" b="0" i="0" u="none" strike="noStrike" cap="none">
                <a:latin typeface="Calibri"/>
                <a:ea typeface="Calibri"/>
                <a:cs typeface="Calibri"/>
                <a:sym typeface="Calibri"/>
              </a:defRPr>
            </a:lvl6pPr>
            <a:lvl7pPr marR="0" lvl="6" algn="ctr" rtl="0">
              <a:spcBef>
                <a:spcPts val="0"/>
              </a:spcBef>
              <a:spcAft>
                <a:spcPts val="0"/>
              </a:spcAft>
              <a:buSzPts val="1508"/>
              <a:buFont typeface="Calibri"/>
              <a:buNone/>
              <a:defRPr sz="1508" b="0" i="0" u="none" strike="noStrike" cap="none">
                <a:latin typeface="Calibri"/>
                <a:ea typeface="Calibri"/>
                <a:cs typeface="Calibri"/>
                <a:sym typeface="Calibri"/>
              </a:defRPr>
            </a:lvl7pPr>
            <a:lvl8pPr marR="0" lvl="7" algn="ctr" rtl="0">
              <a:spcBef>
                <a:spcPts val="0"/>
              </a:spcBef>
              <a:spcAft>
                <a:spcPts val="0"/>
              </a:spcAft>
              <a:buSzPts val="1508"/>
              <a:buFont typeface="Calibri"/>
              <a:buNone/>
              <a:defRPr sz="1508" b="0" i="0" u="none" strike="noStrike" cap="none">
                <a:latin typeface="Calibri"/>
                <a:ea typeface="Calibri"/>
                <a:cs typeface="Calibri"/>
                <a:sym typeface="Calibri"/>
              </a:defRPr>
            </a:lvl8pPr>
            <a:lvl9pPr marR="0" lvl="8" algn="ctr" rtl="0">
              <a:spcBef>
                <a:spcPts val="0"/>
              </a:spcBef>
              <a:spcAft>
                <a:spcPts val="0"/>
              </a:spcAft>
              <a:buSzPts val="1508"/>
              <a:buFont typeface="Calibri"/>
              <a:buNone/>
              <a:defRPr sz="1508" b="0" i="0" u="none" strike="noStrike" cap="none">
                <a:latin typeface="Calibri"/>
                <a:ea typeface="Calibri"/>
                <a:cs typeface="Calibri"/>
                <a:sym typeface="Calibri"/>
              </a:defRPr>
            </a:lvl9pPr>
          </a:lstStyle>
          <a:p>
            <a:endParaRPr/>
          </a:p>
        </p:txBody>
      </p:sp>
      <p:cxnSp>
        <p:nvCxnSpPr>
          <p:cNvPr id="26" name="Google Shape;26;p44"/>
          <p:cNvCxnSpPr/>
          <p:nvPr/>
        </p:nvCxnSpPr>
        <p:spPr>
          <a:xfrm>
            <a:off x="242164" y="1250617"/>
            <a:ext cx="8640000" cy="0"/>
          </a:xfrm>
          <a:prstGeom prst="straightConnector1">
            <a:avLst/>
          </a:prstGeom>
          <a:noFill/>
          <a:ln w="19050" cap="flat" cmpd="sng">
            <a:solidFill>
              <a:srgbClr val="009650"/>
            </a:solidFill>
            <a:prstDash val="solid"/>
            <a:round/>
            <a:headEnd type="none" w="sm" len="sm"/>
            <a:tailEnd type="none" w="sm" len="sm"/>
          </a:ln>
        </p:spPr>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_タイトル スライド">
  <p:cSld name="1_タイトル スライド">
    <p:spTree>
      <p:nvGrpSpPr>
        <p:cNvPr id="1" name="Shape 31"/>
        <p:cNvGrpSpPr/>
        <p:nvPr/>
      </p:nvGrpSpPr>
      <p:grpSpPr>
        <a:xfrm>
          <a:off x="0" y="0"/>
          <a:ext cx="0" cy="0"/>
          <a:chOff x="0" y="0"/>
          <a:chExt cx="0" cy="0"/>
        </a:xfrm>
      </p:grpSpPr>
      <p:cxnSp>
        <p:nvCxnSpPr>
          <p:cNvPr id="32" name="Google Shape;32;p42"/>
          <p:cNvCxnSpPr/>
          <p:nvPr/>
        </p:nvCxnSpPr>
        <p:spPr>
          <a:xfrm>
            <a:off x="251289" y="1268413"/>
            <a:ext cx="8640000" cy="0"/>
          </a:xfrm>
          <a:prstGeom prst="straightConnector1">
            <a:avLst/>
          </a:prstGeom>
          <a:noFill/>
          <a:ln w="19050" cap="flat" cmpd="sng">
            <a:solidFill>
              <a:srgbClr val="009650"/>
            </a:solidFill>
            <a:prstDash val="solid"/>
            <a:round/>
            <a:headEnd type="none" w="sm" len="sm"/>
            <a:tailEnd type="none" w="sm" len="sm"/>
          </a:ln>
        </p:spPr>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1_Blank">
  <p:cSld name="1_Blank">
    <p:spTree>
      <p:nvGrpSpPr>
        <p:cNvPr id="1" name="Shape 33"/>
        <p:cNvGrpSpPr/>
        <p:nvPr/>
      </p:nvGrpSpPr>
      <p:grpSpPr>
        <a:xfrm>
          <a:off x="0" y="0"/>
          <a:ext cx="0" cy="0"/>
          <a:chOff x="0" y="0"/>
          <a:chExt cx="0" cy="0"/>
        </a:xfrm>
      </p:grpSpPr>
      <p:cxnSp>
        <p:nvCxnSpPr>
          <p:cNvPr id="34" name="Google Shape;34;p45"/>
          <p:cNvCxnSpPr/>
          <p:nvPr/>
        </p:nvCxnSpPr>
        <p:spPr>
          <a:xfrm>
            <a:off x="1692275" y="187784"/>
            <a:ext cx="0" cy="6300000"/>
          </a:xfrm>
          <a:prstGeom prst="straightConnector1">
            <a:avLst/>
          </a:prstGeom>
          <a:noFill/>
          <a:ln w="19050" cap="flat" cmpd="sng">
            <a:solidFill>
              <a:srgbClr val="009650"/>
            </a:solidFill>
            <a:prstDash val="solid"/>
            <a:round/>
            <a:headEnd type="none" w="sm" len="sm"/>
            <a:tailEnd type="none" w="sm" len="sm"/>
          </a:ln>
        </p:spPr>
      </p:cxn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35"/>
        <p:cNvGrpSpPr/>
        <p:nvPr/>
      </p:nvGrpSpPr>
      <p:grpSpPr>
        <a:xfrm>
          <a:off x="0" y="0"/>
          <a:ext cx="0" cy="0"/>
          <a:chOff x="0" y="0"/>
          <a:chExt cx="0" cy="0"/>
        </a:xfrm>
      </p:grpSpPr>
      <p:sp>
        <p:nvSpPr>
          <p:cNvPr id="36" name="Google Shape;36;p46"/>
          <p:cNvSpPr txBox="1">
            <a:spLocks noGrp="1"/>
          </p:cNvSpPr>
          <p:nvPr>
            <p:ph type="ctrTitle"/>
          </p:nvPr>
        </p:nvSpPr>
        <p:spPr>
          <a:xfrm>
            <a:off x="1784498" y="516168"/>
            <a:ext cx="6682225" cy="540000"/>
          </a:xfrm>
          <a:prstGeom prst="rect">
            <a:avLst/>
          </a:prstGeom>
          <a:noFill/>
          <a:ln>
            <a:noFill/>
          </a:ln>
        </p:spPr>
        <p:txBody>
          <a:bodyPr spcFirstLastPara="1" wrap="square" lIns="91425" tIns="45700" rIns="91425" bIns="45700" anchor="b" anchorCtr="0">
            <a:normAutofit/>
          </a:bodyPr>
          <a:lstStyle>
            <a:lvl1pPr marR="0" lvl="0" algn="l" rtl="0">
              <a:lnSpc>
                <a:spcPct val="100000"/>
              </a:lnSpc>
              <a:spcBef>
                <a:spcPts val="0"/>
              </a:spcBef>
              <a:spcAft>
                <a:spcPts val="0"/>
              </a:spcAft>
              <a:buClr>
                <a:srgbClr val="000000"/>
              </a:buClr>
              <a:buSzPts val="1400"/>
              <a:buFont typeface="Arial"/>
              <a:buNone/>
              <a:defRPr sz="3018" b="1" i="0" u="none" strike="noStrike" cap="none">
                <a:solidFill>
                  <a:srgbClr val="009650"/>
                </a:solidFill>
                <a:latin typeface="Meiryo"/>
                <a:ea typeface="Meiryo"/>
                <a:cs typeface="Meiryo"/>
                <a:sym typeface="Meiry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7" name="Google Shape;37;p46"/>
          <p:cNvSpPr txBox="1">
            <a:spLocks noGrp="1"/>
          </p:cNvSpPr>
          <p:nvPr>
            <p:ph type="subTitle" idx="1"/>
          </p:nvPr>
        </p:nvSpPr>
        <p:spPr>
          <a:xfrm>
            <a:off x="1789611" y="1409398"/>
            <a:ext cx="6682225" cy="348237"/>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2263"/>
              <a:buFont typeface="Meiryo"/>
              <a:buNone/>
              <a:defRPr sz="2263" b="1" i="0" u="none" strike="noStrike" cap="none">
                <a:solidFill>
                  <a:srgbClr val="000000"/>
                </a:solidFill>
                <a:latin typeface="Meiryo"/>
                <a:ea typeface="Meiryo"/>
                <a:cs typeface="Meiryo"/>
                <a:sym typeface="Meiryo"/>
              </a:defRPr>
            </a:lvl1pPr>
            <a:lvl2pPr marR="0" lvl="1" algn="ctr" rtl="0">
              <a:lnSpc>
                <a:spcPct val="100000"/>
              </a:lnSpc>
              <a:spcBef>
                <a:spcPts val="0"/>
              </a:spcBef>
              <a:spcAft>
                <a:spcPts val="0"/>
              </a:spcAft>
              <a:buClr>
                <a:srgbClr val="000000"/>
              </a:buClr>
              <a:buSzPts val="1884"/>
              <a:buFont typeface="Calibri"/>
              <a:buNone/>
              <a:defRPr sz="1884" b="0" i="0" u="none" strike="noStrike" cap="none">
                <a:solidFill>
                  <a:srgbClr val="000000"/>
                </a:solidFill>
                <a:latin typeface="Calibri"/>
                <a:ea typeface="Calibri"/>
                <a:cs typeface="Calibri"/>
                <a:sym typeface="Calibri"/>
              </a:defRPr>
            </a:lvl2pPr>
            <a:lvl3pPr marR="0" lvl="2" algn="ctr" rtl="0">
              <a:lnSpc>
                <a:spcPct val="100000"/>
              </a:lnSpc>
              <a:spcBef>
                <a:spcPts val="0"/>
              </a:spcBef>
              <a:spcAft>
                <a:spcPts val="0"/>
              </a:spcAft>
              <a:buClr>
                <a:srgbClr val="000000"/>
              </a:buClr>
              <a:buSzPts val="1697"/>
              <a:buFont typeface="Calibri"/>
              <a:buNone/>
              <a:defRPr sz="1695" b="0" i="0" u="none" strike="noStrike" cap="none">
                <a:solidFill>
                  <a:srgbClr val="000000"/>
                </a:solidFill>
                <a:latin typeface="Calibri"/>
                <a:ea typeface="Calibri"/>
                <a:cs typeface="Calibri"/>
                <a:sym typeface="Calibri"/>
              </a:defRPr>
            </a:lvl3pPr>
            <a:lvl4pPr marR="0" lvl="3"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4pPr>
            <a:lvl5pPr marR="0" lvl="4"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5pPr>
            <a:lvl6pPr marR="0" lvl="5"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6pPr>
            <a:lvl7pPr marR="0" lvl="6"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7pPr>
            <a:lvl8pPr marR="0" lvl="7"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8pPr>
            <a:lvl9pPr marR="0" lvl="8"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9pPr>
          </a:lstStyle>
          <a:p>
            <a:endParaRPr/>
          </a:p>
        </p:txBody>
      </p:sp>
      <p:cxnSp>
        <p:nvCxnSpPr>
          <p:cNvPr id="38" name="Google Shape;38;p46"/>
          <p:cNvCxnSpPr/>
          <p:nvPr/>
        </p:nvCxnSpPr>
        <p:spPr>
          <a:xfrm>
            <a:off x="242164" y="1250617"/>
            <a:ext cx="8640000" cy="0"/>
          </a:xfrm>
          <a:prstGeom prst="straightConnector1">
            <a:avLst/>
          </a:prstGeom>
          <a:noFill/>
          <a:ln w="19050" cap="flat" cmpd="sng">
            <a:solidFill>
              <a:srgbClr val="009650"/>
            </a:solidFill>
            <a:prstDash val="solid"/>
            <a:round/>
            <a:headEnd type="none" w="sm" len="sm"/>
            <a:tailEnd type="none" w="sm" len="sm"/>
          </a:ln>
        </p:spPr>
      </p:cxnSp>
      <p:cxnSp>
        <p:nvCxnSpPr>
          <p:cNvPr id="39" name="Google Shape;39;p46"/>
          <p:cNvCxnSpPr/>
          <p:nvPr/>
        </p:nvCxnSpPr>
        <p:spPr>
          <a:xfrm>
            <a:off x="1690688" y="1265237"/>
            <a:ext cx="0" cy="5220000"/>
          </a:xfrm>
          <a:prstGeom prst="straightConnector1">
            <a:avLst/>
          </a:prstGeom>
          <a:noFill/>
          <a:ln w="19050" cap="flat" cmpd="sng">
            <a:solidFill>
              <a:srgbClr val="009650"/>
            </a:solidFill>
            <a:prstDash val="solid"/>
            <a:round/>
            <a:headEnd type="none" w="sm" len="sm"/>
            <a:tailEnd type="none" w="sm" len="sm"/>
          </a:ln>
        </p:spPr>
      </p:cxn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3_Blank">
  <p:cSld name="3_Blank">
    <p:spTree>
      <p:nvGrpSpPr>
        <p:cNvPr id="1" name="Shape 40"/>
        <p:cNvGrpSpPr/>
        <p:nvPr/>
      </p:nvGrpSpPr>
      <p:grpSpPr>
        <a:xfrm>
          <a:off x="0" y="0"/>
          <a:ext cx="0" cy="0"/>
          <a:chOff x="0" y="0"/>
          <a:chExt cx="0" cy="0"/>
        </a:xfrm>
      </p:grpSpPr>
      <p:sp>
        <p:nvSpPr>
          <p:cNvPr id="41" name="Google Shape;41;p47"/>
          <p:cNvSpPr txBox="1">
            <a:spLocks noGrp="1"/>
          </p:cNvSpPr>
          <p:nvPr>
            <p:ph type="ctrTitle"/>
          </p:nvPr>
        </p:nvSpPr>
        <p:spPr>
          <a:xfrm>
            <a:off x="1784498" y="516168"/>
            <a:ext cx="6682225" cy="540000"/>
          </a:xfrm>
          <a:prstGeom prst="rect">
            <a:avLst/>
          </a:prstGeom>
          <a:noFill/>
          <a:ln>
            <a:noFill/>
          </a:ln>
        </p:spPr>
        <p:txBody>
          <a:bodyPr spcFirstLastPara="1" wrap="square" lIns="91425" tIns="45700" rIns="91425" bIns="45700" anchor="b" anchorCtr="0">
            <a:normAutofit/>
          </a:bodyPr>
          <a:lstStyle>
            <a:lvl1pPr marR="0" lvl="0" algn="l" rtl="0">
              <a:lnSpc>
                <a:spcPct val="100000"/>
              </a:lnSpc>
              <a:spcBef>
                <a:spcPts val="0"/>
              </a:spcBef>
              <a:spcAft>
                <a:spcPts val="0"/>
              </a:spcAft>
              <a:buClr>
                <a:srgbClr val="000000"/>
              </a:buClr>
              <a:buSzPts val="1400"/>
              <a:buFont typeface="Arial"/>
              <a:buNone/>
              <a:defRPr sz="3018" b="1" i="0" u="none" strike="noStrike" cap="none">
                <a:solidFill>
                  <a:srgbClr val="009650"/>
                </a:solidFill>
                <a:latin typeface="Meiryo"/>
                <a:ea typeface="Meiryo"/>
                <a:cs typeface="Meiryo"/>
                <a:sym typeface="Meiry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42" name="Google Shape;42;p47"/>
          <p:cNvSpPr txBox="1">
            <a:spLocks noGrp="1"/>
          </p:cNvSpPr>
          <p:nvPr>
            <p:ph type="subTitle" idx="1"/>
          </p:nvPr>
        </p:nvSpPr>
        <p:spPr>
          <a:xfrm>
            <a:off x="524337" y="1409398"/>
            <a:ext cx="6682225" cy="348237"/>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2263"/>
              <a:buFont typeface="Meiryo"/>
              <a:buNone/>
              <a:defRPr sz="2263" b="1" i="0" u="none" strike="noStrike" cap="none">
                <a:solidFill>
                  <a:srgbClr val="000000"/>
                </a:solidFill>
                <a:latin typeface="Meiryo"/>
                <a:ea typeface="Meiryo"/>
                <a:cs typeface="Meiryo"/>
                <a:sym typeface="Meiryo"/>
              </a:defRPr>
            </a:lvl1pPr>
            <a:lvl2pPr marR="0" lvl="1" algn="ctr" rtl="0">
              <a:lnSpc>
                <a:spcPct val="100000"/>
              </a:lnSpc>
              <a:spcBef>
                <a:spcPts val="0"/>
              </a:spcBef>
              <a:spcAft>
                <a:spcPts val="0"/>
              </a:spcAft>
              <a:buClr>
                <a:srgbClr val="000000"/>
              </a:buClr>
              <a:buSzPts val="1884"/>
              <a:buFont typeface="Calibri"/>
              <a:buNone/>
              <a:defRPr sz="1884" b="0" i="0" u="none" strike="noStrike" cap="none">
                <a:solidFill>
                  <a:srgbClr val="000000"/>
                </a:solidFill>
                <a:latin typeface="Calibri"/>
                <a:ea typeface="Calibri"/>
                <a:cs typeface="Calibri"/>
                <a:sym typeface="Calibri"/>
              </a:defRPr>
            </a:lvl2pPr>
            <a:lvl3pPr marR="0" lvl="2" algn="ctr" rtl="0">
              <a:lnSpc>
                <a:spcPct val="100000"/>
              </a:lnSpc>
              <a:spcBef>
                <a:spcPts val="0"/>
              </a:spcBef>
              <a:spcAft>
                <a:spcPts val="0"/>
              </a:spcAft>
              <a:buClr>
                <a:srgbClr val="000000"/>
              </a:buClr>
              <a:buSzPts val="1697"/>
              <a:buFont typeface="Calibri"/>
              <a:buNone/>
              <a:defRPr sz="1695" b="0" i="0" u="none" strike="noStrike" cap="none">
                <a:solidFill>
                  <a:srgbClr val="000000"/>
                </a:solidFill>
                <a:latin typeface="Calibri"/>
                <a:ea typeface="Calibri"/>
                <a:cs typeface="Calibri"/>
                <a:sym typeface="Calibri"/>
              </a:defRPr>
            </a:lvl3pPr>
            <a:lvl4pPr marR="0" lvl="3"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4pPr>
            <a:lvl5pPr marR="0" lvl="4"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5pPr>
            <a:lvl6pPr marR="0" lvl="5"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6pPr>
            <a:lvl7pPr marR="0" lvl="6"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7pPr>
            <a:lvl8pPr marR="0" lvl="7"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8pPr>
            <a:lvl9pPr marR="0" lvl="8"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9pPr>
          </a:lstStyle>
          <a:p>
            <a:endParaRPr/>
          </a:p>
        </p:txBody>
      </p:sp>
      <p:cxnSp>
        <p:nvCxnSpPr>
          <p:cNvPr id="43" name="Google Shape;43;p47"/>
          <p:cNvCxnSpPr/>
          <p:nvPr/>
        </p:nvCxnSpPr>
        <p:spPr>
          <a:xfrm>
            <a:off x="242164" y="1250617"/>
            <a:ext cx="8640000" cy="0"/>
          </a:xfrm>
          <a:prstGeom prst="straightConnector1">
            <a:avLst/>
          </a:prstGeom>
          <a:noFill/>
          <a:ln w="19050" cap="flat" cmpd="sng">
            <a:solidFill>
              <a:srgbClr val="009650"/>
            </a:solidFill>
            <a:prstDash val="solid"/>
            <a:round/>
            <a:headEnd type="none" w="sm" len="sm"/>
            <a:tailEnd type="none" w="sm" len="sm"/>
          </a:ln>
        </p:spPr>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type="obj">
  <p:cSld name="OBJECT">
    <p:spTree>
      <p:nvGrpSpPr>
        <p:cNvPr id="1" name="Shape 44"/>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7.xml"/><Relationship Id="rId7" Type="http://schemas.openxmlformats.org/officeDocument/2006/relationships/vmlDrawing" Target="../drawings/vmlDrawing2.v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10" Type="http://schemas.openxmlformats.org/officeDocument/2006/relationships/image" Target="../media/image1.emf"/><Relationship Id="rId4" Type="http://schemas.openxmlformats.org/officeDocument/2006/relationships/slideLayout" Target="../slideLayouts/slideLayout8.xml"/><Relationship Id="rId9"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DFEE4D3-4544-4CD2-9E96-DB9CCD8CF126}"/>
              </a:ext>
            </a:extLst>
          </p:cNvPr>
          <p:cNvGraphicFramePr>
            <a:graphicFrameLocks noChangeAspect="1"/>
          </p:cNvGraphicFramePr>
          <p:nvPr userDrawn="1">
            <p:custDataLst>
              <p:tags r:id="rId7"/>
            </p:custDataLst>
            <p:extLst>
              <p:ext uri="{D42A27DB-BD31-4B8C-83A1-F6EECF244321}">
                <p14:modId xmlns:p14="http://schemas.microsoft.com/office/powerpoint/2010/main" val="748981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3" name="think-cell スライド" r:id="rId8" imgW="353" imgH="353" progId="TCLayout.ActiveDocument.1">
                  <p:embed/>
                </p:oleObj>
              </mc:Choice>
              <mc:Fallback>
                <p:oleObj name="think-cell スライド" r:id="rId8" imgW="353" imgH="353"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Google Shape;10;p37"/>
          <p:cNvSpPr/>
          <p:nvPr/>
        </p:nvSpPr>
        <p:spPr>
          <a:xfrm>
            <a:off x="251642" y="193535"/>
            <a:ext cx="8640000" cy="6300000"/>
          </a:xfrm>
          <a:prstGeom prst="roundRect">
            <a:avLst>
              <a:gd name="adj" fmla="val 11066"/>
            </a:avLst>
          </a:prstGeom>
          <a:noFill/>
          <a:ln w="19050" cap="flat" cmpd="sng">
            <a:solidFill>
              <a:srgbClr val="00965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96" b="0" i="0" u="none" strike="noStrike" cap="none">
              <a:solidFill>
                <a:schemeClr val="dk1"/>
              </a:solidFill>
              <a:latin typeface="Calibri"/>
              <a:ea typeface="Calibri"/>
              <a:cs typeface="Calibri"/>
              <a:sym typeface="Calibri"/>
            </a:endParaRPr>
          </a:p>
        </p:txBody>
      </p:sp>
      <p:sp>
        <p:nvSpPr>
          <p:cNvPr id="11" name="Google Shape;11;p37"/>
          <p:cNvSpPr/>
          <p:nvPr/>
        </p:nvSpPr>
        <p:spPr>
          <a:xfrm>
            <a:off x="4397495" y="6317066"/>
            <a:ext cx="360000" cy="360000"/>
          </a:xfrm>
          <a:prstGeom prst="ellipse">
            <a:avLst/>
          </a:prstGeom>
          <a:solidFill>
            <a:schemeClr val="lt1"/>
          </a:solidFill>
          <a:ln w="19050" cap="flat" cmpd="sng">
            <a:solidFill>
              <a:srgbClr val="00965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96" b="0" i="0" u="none" strike="noStrike" cap="none">
              <a:solidFill>
                <a:schemeClr val="lt1"/>
              </a:solidFill>
              <a:latin typeface="Calibri"/>
              <a:ea typeface="Calibri"/>
              <a:cs typeface="Calibri"/>
              <a:sym typeface="Calibri"/>
            </a:endParaRPr>
          </a:p>
        </p:txBody>
      </p:sp>
      <p:sp>
        <p:nvSpPr>
          <p:cNvPr id="12" name="Google Shape;12;p37"/>
          <p:cNvSpPr txBox="1"/>
          <p:nvPr/>
        </p:nvSpPr>
        <p:spPr>
          <a:xfrm>
            <a:off x="4221932" y="6328430"/>
            <a:ext cx="720000" cy="360000"/>
          </a:xfrm>
          <a:prstGeom prst="rect">
            <a:avLst/>
          </a:prstGeom>
          <a:noFill/>
          <a:ln>
            <a:noFill/>
          </a:ln>
        </p:spPr>
        <p:txBody>
          <a:bodyPr spcFirstLastPara="1" wrap="square" lIns="86225" tIns="43100" rIns="86225" bIns="43100" anchor="ctr" anchorCtr="0">
            <a:noAutofit/>
          </a:bodyPr>
          <a:lstStyle/>
          <a:p>
            <a:pPr marL="0" marR="0" lvl="0" indent="0" algn="ctr" rtl="0">
              <a:spcBef>
                <a:spcPts val="0"/>
              </a:spcBef>
              <a:spcAft>
                <a:spcPts val="0"/>
              </a:spcAft>
              <a:buNone/>
            </a:pPr>
            <a:fld id="{00000000-1234-1234-1234-123412341234}" type="slidenum">
              <a:rPr lang="ja-JP" sz="1508" b="1" i="0" u="none" strike="noStrike" cap="none">
                <a:solidFill>
                  <a:srgbClr val="009650"/>
                </a:solidFill>
                <a:latin typeface="Meiryo"/>
                <a:ea typeface="Meiryo"/>
                <a:cs typeface="Meiryo"/>
                <a:sym typeface="Meiryo"/>
              </a:rPr>
              <a:t>‹#›</a:t>
            </a:fld>
            <a:endParaRPr sz="1508" b="1" i="0" u="none" strike="noStrike" cap="none">
              <a:solidFill>
                <a:srgbClr val="009650"/>
              </a:solidFill>
              <a:latin typeface="Meiryo"/>
              <a:ea typeface="Meiryo"/>
              <a:cs typeface="Meiryo"/>
              <a:sym typeface="Meiryo"/>
            </a:endParaRPr>
          </a:p>
        </p:txBody>
      </p:sp>
    </p:spTree>
  </p:cSld>
  <p:clrMap bg1="lt1" tx1="dk1" bg2="dk2" tx2="lt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3">
          <p15:clr>
            <a:srgbClr val="F26B43"/>
          </p15:clr>
        </p15:guide>
        <p15:guide id="2" pos="2880">
          <p15:clr>
            <a:srgbClr val="F26B43"/>
          </p15:clr>
        </p15:guide>
        <p15:guide id="3" pos="161">
          <p15:clr>
            <a:srgbClr val="F26B43"/>
          </p15:clr>
        </p15:guide>
        <p15:guide id="4" pos="382">
          <p15:clr>
            <a:srgbClr val="F26B43"/>
          </p15:clr>
        </p15:guide>
        <p15:guide id="5" pos="1065">
          <p15:clr>
            <a:srgbClr val="F26B43"/>
          </p15:clr>
        </p15:guide>
        <p15:guide id="6" pos="1179">
          <p15:clr>
            <a:srgbClr val="F26B43"/>
          </p15:clr>
        </p15:guide>
        <p15:guide id="7" pos="5599">
          <p15:clr>
            <a:srgbClr val="F26B43"/>
          </p15:clr>
        </p15:guide>
        <p15:guide id="8" pos="5378">
          <p15:clr>
            <a:srgbClr val="F26B43"/>
          </p15:clr>
        </p15:guide>
        <p15:guide id="9" orient="horz" pos="121">
          <p15:clr>
            <a:srgbClr val="F26B43"/>
          </p15:clr>
        </p15:guide>
        <p15:guide id="10" orient="horz" pos="348">
          <p15:clr>
            <a:srgbClr val="F26B43"/>
          </p15:clr>
        </p15:guide>
        <p15:guide id="11" orient="horz" pos="569">
          <p15:clr>
            <a:srgbClr val="F26B43"/>
          </p15:clr>
        </p15:guide>
        <p15:guide id="12" orient="horz" pos="800">
          <p15:clr>
            <a:srgbClr val="F26B43"/>
          </p15:clr>
        </p15:guide>
        <p15:guide id="13" orient="horz" pos="911">
          <p15:clr>
            <a:srgbClr val="F26B43"/>
          </p15:clr>
        </p15:guide>
        <p15:guide id="14" orient="horz" pos="1025">
          <p15:clr>
            <a:srgbClr val="F26B43"/>
          </p15:clr>
        </p15:guide>
        <p15:guide id="15" orient="horz" pos="1252">
          <p15:clr>
            <a:srgbClr val="F26B43"/>
          </p15:clr>
        </p15:guide>
        <p15:guide id="16" orient="horz" pos="1480">
          <p15:clr>
            <a:srgbClr val="F26B43"/>
          </p15:clr>
        </p15:guide>
        <p15:guide id="17" orient="horz" pos="4086">
          <p15:clr>
            <a:srgbClr val="F26B43"/>
          </p15:clr>
        </p15:guide>
        <p15:guide id="18" orient="horz" pos="3858">
          <p15:clr>
            <a:srgbClr val="F26B43"/>
          </p15:clr>
        </p15:guide>
        <p15:guide id="19" orient="horz" pos="229">
          <p15:clr>
            <a:srgbClr val="F26B43"/>
          </p15:clr>
        </p15:guide>
        <p15:guide id="20" orient="horz" pos="6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7"/>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6F4C5AA6-D44D-4D0E-9FCF-821DF5F9956C}"/>
              </a:ext>
            </a:extLst>
          </p:cNvPr>
          <p:cNvGraphicFramePr>
            <a:graphicFrameLocks noChangeAspect="1"/>
          </p:cNvGraphicFramePr>
          <p:nvPr userDrawn="1">
            <p:custDataLst>
              <p:tags r:id="rId8"/>
            </p:custDataLst>
            <p:extLst>
              <p:ext uri="{D42A27DB-BD31-4B8C-83A1-F6EECF244321}">
                <p14:modId xmlns:p14="http://schemas.microsoft.com/office/powerpoint/2010/main" val="130578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6" name="think-cell スライド" r:id="rId9" imgW="353" imgH="353" progId="TCLayout.ActiveDocument.1">
                  <p:embed/>
                </p:oleObj>
              </mc:Choice>
              <mc:Fallback>
                <p:oleObj name="think-cell スライド" r:id="rId9" imgW="353" imgH="353"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8" name="Google Shape;28;p41"/>
          <p:cNvSpPr/>
          <p:nvPr/>
        </p:nvSpPr>
        <p:spPr>
          <a:xfrm>
            <a:off x="251642" y="193535"/>
            <a:ext cx="8640000" cy="6300000"/>
          </a:xfrm>
          <a:prstGeom prst="roundRect">
            <a:avLst>
              <a:gd name="adj" fmla="val 11066"/>
            </a:avLst>
          </a:prstGeom>
          <a:noFill/>
          <a:ln w="19050" cap="flat" cmpd="sng">
            <a:solidFill>
              <a:srgbClr val="00965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96"/>
              <a:buFont typeface="Arial"/>
              <a:buNone/>
            </a:pPr>
            <a:endParaRPr sz="1695" b="0" i="0" u="none" strike="noStrike" cap="none">
              <a:solidFill>
                <a:schemeClr val="dk1"/>
              </a:solidFill>
              <a:latin typeface="Calibri"/>
              <a:ea typeface="Calibri"/>
              <a:cs typeface="Calibri"/>
              <a:sym typeface="Calibri"/>
            </a:endParaRPr>
          </a:p>
        </p:txBody>
      </p:sp>
      <p:sp>
        <p:nvSpPr>
          <p:cNvPr id="29" name="Google Shape;29;p41"/>
          <p:cNvSpPr/>
          <p:nvPr/>
        </p:nvSpPr>
        <p:spPr>
          <a:xfrm>
            <a:off x="4397495" y="6317066"/>
            <a:ext cx="360000" cy="360000"/>
          </a:xfrm>
          <a:prstGeom prst="ellipse">
            <a:avLst/>
          </a:prstGeom>
          <a:solidFill>
            <a:schemeClr val="lt1"/>
          </a:solidFill>
          <a:ln w="19050" cap="flat" cmpd="sng">
            <a:solidFill>
              <a:srgbClr val="00965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96"/>
              <a:buFont typeface="Arial"/>
              <a:buNone/>
            </a:pPr>
            <a:endParaRPr sz="1695" b="0" i="0" u="none" strike="noStrike" cap="none">
              <a:solidFill>
                <a:schemeClr val="lt1"/>
              </a:solidFill>
              <a:latin typeface="Calibri"/>
              <a:ea typeface="Calibri"/>
              <a:cs typeface="Calibri"/>
              <a:sym typeface="Calibri"/>
            </a:endParaRPr>
          </a:p>
        </p:txBody>
      </p:sp>
      <p:sp>
        <p:nvSpPr>
          <p:cNvPr id="30" name="Google Shape;30;p41"/>
          <p:cNvSpPr txBox="1"/>
          <p:nvPr/>
        </p:nvSpPr>
        <p:spPr>
          <a:xfrm>
            <a:off x="4221932" y="6328430"/>
            <a:ext cx="720000" cy="360000"/>
          </a:xfrm>
          <a:prstGeom prst="rect">
            <a:avLst/>
          </a:prstGeom>
          <a:noFill/>
          <a:ln>
            <a:noFill/>
          </a:ln>
        </p:spPr>
        <p:txBody>
          <a:bodyPr spcFirstLastPara="1" wrap="square" lIns="86225" tIns="43100" rIns="86225" bIns="43100" anchor="ctr" anchorCtr="0">
            <a:noAutofit/>
          </a:bodyPr>
          <a:lstStyle/>
          <a:p>
            <a:pPr marL="0" marR="0" lvl="0" indent="0" algn="ctr" rtl="0">
              <a:lnSpc>
                <a:spcPct val="100000"/>
              </a:lnSpc>
              <a:spcBef>
                <a:spcPts val="0"/>
              </a:spcBef>
              <a:spcAft>
                <a:spcPts val="0"/>
              </a:spcAft>
              <a:buClr>
                <a:srgbClr val="000000"/>
              </a:buClr>
              <a:buSzPts val="1508"/>
              <a:buFont typeface="Arial"/>
              <a:buNone/>
            </a:pPr>
            <a:fld id="{00000000-1234-1234-1234-123412341234}" type="slidenum">
              <a:rPr lang="ja-JP" sz="1508" b="1" i="0" u="none" strike="noStrike" cap="none">
                <a:solidFill>
                  <a:srgbClr val="009650"/>
                </a:solidFill>
                <a:latin typeface="Meiryo"/>
                <a:ea typeface="Meiryo"/>
                <a:cs typeface="Meiryo"/>
                <a:sym typeface="Meiryo"/>
              </a:rPr>
              <a:t>‹#›</a:t>
            </a:fld>
            <a:endParaRPr sz="1508" b="1" i="0" u="none" strike="noStrike" cap="none">
              <a:solidFill>
                <a:srgbClr val="009650"/>
              </a:solidFill>
              <a:latin typeface="Meiryo"/>
              <a:ea typeface="Meiryo"/>
              <a:cs typeface="Meiryo"/>
              <a:sym typeface="Meiryo"/>
            </a:endParaRPr>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3">
          <p15:clr>
            <a:srgbClr val="F26B43"/>
          </p15:clr>
        </p15:guide>
        <p15:guide id="2" pos="2880">
          <p15:clr>
            <a:srgbClr val="F26B43"/>
          </p15:clr>
        </p15:guide>
        <p15:guide id="3" pos="161">
          <p15:clr>
            <a:srgbClr val="F26B43"/>
          </p15:clr>
        </p15:guide>
        <p15:guide id="4" pos="382">
          <p15:clr>
            <a:srgbClr val="F26B43"/>
          </p15:clr>
        </p15:guide>
        <p15:guide id="5" pos="1065">
          <p15:clr>
            <a:srgbClr val="F26B43"/>
          </p15:clr>
        </p15:guide>
        <p15:guide id="6" pos="1179">
          <p15:clr>
            <a:srgbClr val="F26B43"/>
          </p15:clr>
        </p15:guide>
        <p15:guide id="7" pos="5599">
          <p15:clr>
            <a:srgbClr val="F26B43"/>
          </p15:clr>
        </p15:guide>
        <p15:guide id="8" pos="5378">
          <p15:clr>
            <a:srgbClr val="F26B43"/>
          </p15:clr>
        </p15:guide>
        <p15:guide id="9" orient="horz" pos="121">
          <p15:clr>
            <a:srgbClr val="F26B43"/>
          </p15:clr>
        </p15:guide>
        <p15:guide id="10" orient="horz" pos="348">
          <p15:clr>
            <a:srgbClr val="F26B43"/>
          </p15:clr>
        </p15:guide>
        <p15:guide id="11" orient="horz" pos="569">
          <p15:clr>
            <a:srgbClr val="F26B43"/>
          </p15:clr>
        </p15:guide>
        <p15:guide id="12" orient="horz" pos="800">
          <p15:clr>
            <a:srgbClr val="F26B43"/>
          </p15:clr>
        </p15:guide>
        <p15:guide id="13" orient="horz" pos="911">
          <p15:clr>
            <a:srgbClr val="F26B43"/>
          </p15:clr>
        </p15:guide>
        <p15:guide id="14" orient="horz" pos="1025">
          <p15:clr>
            <a:srgbClr val="F26B43"/>
          </p15:clr>
        </p15:guide>
        <p15:guide id="15" orient="horz" pos="1252">
          <p15:clr>
            <a:srgbClr val="F26B43"/>
          </p15:clr>
        </p15:guide>
        <p15:guide id="16" orient="horz" pos="1480">
          <p15:clr>
            <a:srgbClr val="F26B43"/>
          </p15:clr>
        </p15:guide>
        <p15:guide id="17" orient="horz" pos="4086">
          <p15:clr>
            <a:srgbClr val="F26B43"/>
          </p15:clr>
        </p15:guide>
        <p15:guide id="18" orient="horz" pos="3858">
          <p15:clr>
            <a:srgbClr val="F26B43"/>
          </p15:clr>
        </p15:guide>
        <p15:guide id="19" orient="horz" pos="229">
          <p15:clr>
            <a:srgbClr val="F26B43"/>
          </p15:clr>
        </p15:guide>
        <p15:guide id="20" orient="horz" pos="6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xml"/><Relationship Id="rId5" Type="http://schemas.openxmlformats.org/officeDocument/2006/relationships/image" Target="../media/image19.pn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21.jpg"/><Relationship Id="rId4" Type="http://schemas.openxmlformats.org/officeDocument/2006/relationships/notesSlide" Target="../notesSlides/notesSlide12.xml"/><Relationship Id="rId9" Type="http://schemas.openxmlformats.org/officeDocument/2006/relationships/image" Target="../media/image23.png"/></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slideLayout" Target="../slideLayouts/slideLayout1.xml"/><Relationship Id="rId7" Type="http://schemas.openxmlformats.org/officeDocument/2006/relationships/image" Target="../media/image21.jp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2.png"/><Relationship Id="rId5" Type="http://schemas.openxmlformats.org/officeDocument/2006/relationships/image" Target="../media/image24.png"/><Relationship Id="rId10" Type="http://schemas.openxmlformats.org/officeDocument/2006/relationships/image" Target="../media/image23.png"/><Relationship Id="rId4" Type="http://schemas.openxmlformats.org/officeDocument/2006/relationships/notesSlide" Target="../notesSlides/notesSlide13.xml"/><Relationship Id="rId9"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5.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6.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slideLayout" Target="../slideLayouts/slideLayout1.xml"/><Relationship Id="rId7" Type="http://schemas.openxmlformats.org/officeDocument/2006/relationships/image" Target="../media/image27.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1.xml"/><Relationship Id="rId7" Type="http://schemas.openxmlformats.org/officeDocument/2006/relationships/image" Target="../media/image28.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xml"/><Relationship Id="rId7" Type="http://schemas.openxmlformats.org/officeDocument/2006/relationships/oleObject" Target="../embeddings/oleObject16.bin"/><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1.png"/><Relationship Id="rId5" Type="http://schemas.openxmlformats.org/officeDocument/2006/relationships/image" Target="../media/image30.jpg"/><Relationship Id="rId4" Type="http://schemas.openxmlformats.org/officeDocument/2006/relationships/notesSlide" Target="../notesSlides/notesSlide19.xml"/><Relationship Id="rId9"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jp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1.xml"/><Relationship Id="rId7" Type="http://schemas.openxmlformats.org/officeDocument/2006/relationships/image" Target="../media/image33.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10" Type="http://schemas.openxmlformats.org/officeDocument/2006/relationships/image" Target="../media/image36.png"/><Relationship Id="rId4" Type="http://schemas.openxmlformats.org/officeDocument/2006/relationships/notesSlide" Target="../notesSlides/notesSlide20.xml"/><Relationship Id="rId9" Type="http://schemas.openxmlformats.org/officeDocument/2006/relationships/image" Target="../media/image35.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6.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5.xml"/><Relationship Id="rId7" Type="http://schemas.openxmlformats.org/officeDocument/2006/relationships/image" Target="../media/image37.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22.xml"/><Relationship Id="rId9" Type="http://schemas.openxmlformats.org/officeDocument/2006/relationships/image" Target="../media/image39.png"/></Relationships>
</file>

<file path=ppt/slides/_rels/slide23.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1.xml"/><Relationship Id="rId7" Type="http://schemas.openxmlformats.org/officeDocument/2006/relationships/image" Target="../media/image40.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image" Target="../media/image42.jpg"/><Relationship Id="rId7" Type="http://schemas.openxmlformats.org/officeDocument/2006/relationships/image" Target="../media/image46.jpg"/><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image" Target="../media/image45.jpg"/><Relationship Id="rId5" Type="http://schemas.openxmlformats.org/officeDocument/2006/relationships/image" Target="../media/image44.jpg"/><Relationship Id="rId4" Type="http://schemas.openxmlformats.org/officeDocument/2006/relationships/image" Target="../media/image43.jpg"/></Relationships>
</file>

<file path=ppt/slides/_rels/slide25.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25.xml"/><Relationship Id="rId1" Type="http://schemas.openxmlformats.org/officeDocument/2006/relationships/slideLayout" Target="../slideLayouts/slideLayout1.xml"/><Relationship Id="rId6" Type="http://schemas.openxmlformats.org/officeDocument/2006/relationships/image" Target="../media/image50.jpg"/><Relationship Id="rId5" Type="http://schemas.openxmlformats.org/officeDocument/2006/relationships/image" Target="../media/image49.jpg"/><Relationship Id="rId4" Type="http://schemas.openxmlformats.org/officeDocument/2006/relationships/image" Target="../media/image48.jpg"/></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6.xml"/><Relationship Id="rId1" Type="http://schemas.openxmlformats.org/officeDocument/2006/relationships/slideLayout" Target="../slideLayouts/slideLayout1.xml"/><Relationship Id="rId5" Type="http://schemas.openxmlformats.org/officeDocument/2006/relationships/image" Target="../media/image53.png"/><Relationship Id="rId4" Type="http://schemas.openxmlformats.org/officeDocument/2006/relationships/image" Target="../media/image52.png"/></Relationships>
</file>

<file path=ppt/slides/_rels/slide27.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1.xml"/><Relationship Id="rId7" Type="http://schemas.openxmlformats.org/officeDocument/2006/relationships/image" Target="../media/image54.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27.xml"/><Relationship Id="rId9" Type="http://schemas.openxmlformats.org/officeDocument/2006/relationships/image" Target="../media/image56.png"/></Relationships>
</file>

<file path=ppt/slides/_rels/slide28.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1.xml"/><Relationship Id="rId7" Type="http://schemas.openxmlformats.org/officeDocument/2006/relationships/image" Target="../media/image57.pn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9.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1.xml"/><Relationship Id="rId7" Type="http://schemas.openxmlformats.org/officeDocument/2006/relationships/image" Target="../media/image60.pn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6.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slideLayout" Target="../slideLayouts/slideLayout1.xml"/><Relationship Id="rId7" Type="http://schemas.openxmlformats.org/officeDocument/2006/relationships/image" Target="../media/image63.png"/><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62.png"/><Relationship Id="rId5" Type="http://schemas.openxmlformats.org/officeDocument/2006/relationships/image" Target="../media/image61.jpg"/><Relationship Id="rId4" Type="http://schemas.openxmlformats.org/officeDocument/2006/relationships/notesSlide" Target="../notesSlides/notesSlide33.xml"/><Relationship Id="rId9"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64.pn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65.pn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1.xml"/><Relationship Id="rId7" Type="http://schemas.openxmlformats.org/officeDocument/2006/relationships/image" Target="../media/image33.pn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10" Type="http://schemas.openxmlformats.org/officeDocument/2006/relationships/image" Target="../media/image36.png"/><Relationship Id="rId4" Type="http://schemas.openxmlformats.org/officeDocument/2006/relationships/notesSlide" Target="../notesSlides/notesSlide36.xml"/><Relationship Id="rId9" Type="http://schemas.openxmlformats.org/officeDocument/2006/relationships/image" Target="../media/image35.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6.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1.xml"/><Relationship Id="rId7" Type="http://schemas.openxmlformats.org/officeDocument/2006/relationships/image" Target="../media/image37.pn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38.xml"/><Relationship Id="rId9" Type="http://schemas.openxmlformats.org/officeDocument/2006/relationships/image" Target="../media/image39.png"/></Relationships>
</file>

<file path=ppt/slides/_rels/slide3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1.xml"/><Relationship Id="rId7" Type="http://schemas.openxmlformats.org/officeDocument/2006/relationships/image" Target="../media/image40.png"/><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7.jpg"/><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image" Target="../media/image42.jpg"/><Relationship Id="rId7" Type="http://schemas.openxmlformats.org/officeDocument/2006/relationships/image" Target="../media/image46.jpg"/><Relationship Id="rId2" Type="http://schemas.openxmlformats.org/officeDocument/2006/relationships/notesSlide" Target="../notesSlides/notesSlide40.xml"/><Relationship Id="rId1" Type="http://schemas.openxmlformats.org/officeDocument/2006/relationships/slideLayout" Target="../slideLayouts/slideLayout1.xml"/><Relationship Id="rId6" Type="http://schemas.openxmlformats.org/officeDocument/2006/relationships/image" Target="../media/image45.jpg"/><Relationship Id="rId5" Type="http://schemas.openxmlformats.org/officeDocument/2006/relationships/image" Target="../media/image44.jpg"/><Relationship Id="rId4" Type="http://schemas.openxmlformats.org/officeDocument/2006/relationships/image" Target="../media/image43.jpg"/></Relationships>
</file>

<file path=ppt/slides/_rels/slide41.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41.xml"/><Relationship Id="rId1" Type="http://schemas.openxmlformats.org/officeDocument/2006/relationships/slideLayout" Target="../slideLayouts/slideLayout1.xml"/><Relationship Id="rId6" Type="http://schemas.openxmlformats.org/officeDocument/2006/relationships/image" Target="../media/image49.jpg"/><Relationship Id="rId5" Type="http://schemas.openxmlformats.org/officeDocument/2006/relationships/image" Target="../media/image50.jpg"/><Relationship Id="rId4" Type="http://schemas.openxmlformats.org/officeDocument/2006/relationships/image" Target="../media/image48.jpg"/></Relationships>
</file>

<file path=ppt/slides/_rels/slide4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2.xml"/><Relationship Id="rId1" Type="http://schemas.openxmlformats.org/officeDocument/2006/relationships/slideLayout" Target="../slideLayouts/slideLayout1.xml"/><Relationship Id="rId5" Type="http://schemas.openxmlformats.org/officeDocument/2006/relationships/image" Target="../media/image53.png"/><Relationship Id="rId4" Type="http://schemas.openxmlformats.org/officeDocument/2006/relationships/image" Target="../media/image52.png"/></Relationships>
</file>

<file path=ppt/slides/_rels/slide43.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1.xml"/><Relationship Id="rId7" Type="http://schemas.openxmlformats.org/officeDocument/2006/relationships/image" Target="../media/image54.png"/><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43.xml"/><Relationship Id="rId9" Type="http://schemas.openxmlformats.org/officeDocument/2006/relationships/image" Target="../media/image56.png"/></Relationships>
</file>

<file path=ppt/slides/_rels/slide44.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1.xml"/><Relationship Id="rId7" Type="http://schemas.openxmlformats.org/officeDocument/2006/relationships/image" Target="../media/image57.png"/><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9.png"/><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4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xml"/><Relationship Id="rId7" Type="http://schemas.openxmlformats.org/officeDocument/2006/relationships/image" Target="../media/image9.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10" Type="http://schemas.openxmlformats.org/officeDocument/2006/relationships/image" Target="../media/image12.jpg"/><Relationship Id="rId4" Type="http://schemas.openxmlformats.org/officeDocument/2006/relationships/notesSlide" Target="../notesSlides/notesSlide6.xml"/><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xml"/><Relationship Id="rId7" Type="http://schemas.openxmlformats.org/officeDocument/2006/relationships/image" Target="../media/image11.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xml"/><Relationship Id="rId7" Type="http://schemas.openxmlformats.org/officeDocument/2006/relationships/image" Target="../media/image10.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8.xml"/><Relationship Id="rId9" Type="http://schemas.openxmlformats.org/officeDocument/2006/relationships/image" Target="../media/image14.png"/></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1.xml"/><Relationship Id="rId7" Type="http://schemas.openxmlformats.org/officeDocument/2006/relationships/image" Target="../media/image15.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9.xml"/><Relationship Id="rId9"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6"/>
        <p:cNvGrpSpPr/>
        <p:nvPr/>
      </p:nvGrpSpPr>
      <p:grpSpPr>
        <a:xfrm>
          <a:off x="0" y="0"/>
          <a:ext cx="0" cy="0"/>
          <a:chOff x="0" y="0"/>
          <a:chExt cx="0" cy="0"/>
        </a:xfrm>
      </p:grpSpPr>
      <p:sp>
        <p:nvSpPr>
          <p:cNvPr id="57" name="Google Shape;57;p2"/>
          <p:cNvSpPr txBox="1">
            <a:spLocks noGrp="1"/>
          </p:cNvSpPr>
          <p:nvPr>
            <p:ph type="subTitle" idx="1"/>
          </p:nvPr>
        </p:nvSpPr>
        <p:spPr>
          <a:xfrm>
            <a:off x="515112" y="1394042"/>
            <a:ext cx="8280000" cy="1800000"/>
          </a:xfrm>
          <a:prstGeom prst="rect">
            <a:avLst/>
          </a:prstGeom>
          <a:noFill/>
          <a:ln>
            <a:noFill/>
          </a:ln>
        </p:spPr>
        <p:txBody>
          <a:bodyPr spcFirstLastPara="1" wrap="square" lIns="91425" tIns="45700" rIns="91425" bIns="45700" anchor="t" anchorCtr="0">
            <a:noAutofit/>
          </a:bodyPr>
          <a:lstStyle/>
          <a:p>
            <a:pPr marL="0" marR="0" lvl="0" indent="0" algn="l" rtl="0">
              <a:lnSpc>
                <a:spcPct val="110000"/>
              </a:lnSpc>
              <a:spcBef>
                <a:spcPts val="0"/>
              </a:spcBef>
              <a:spcAft>
                <a:spcPts val="0"/>
              </a:spcAft>
              <a:buClr>
                <a:srgbClr val="000000"/>
              </a:buClr>
              <a:buSzPts val="1800"/>
              <a:buFont typeface="Arial"/>
              <a:buNone/>
            </a:pPr>
            <a:r>
              <a:rPr lang="ja-JP" sz="1800" b="1" i="0" u="none" strike="noStrike" cap="none" dirty="0">
                <a:latin typeface="Meiryo"/>
                <a:ea typeface="Meiryo"/>
                <a:cs typeface="Meiryo"/>
                <a:sym typeface="Meiryo"/>
              </a:rPr>
              <a:t>クロン</a:t>
            </a:r>
            <a:r>
              <a:rPr lang="ja-JP" sz="1800" b="1" i="0" u="none" strike="noStrike" cap="none" dirty="0">
                <a:solidFill>
                  <a:srgbClr val="000000"/>
                </a:solidFill>
                <a:latin typeface="Meiryo"/>
                <a:ea typeface="Meiryo"/>
                <a:cs typeface="Meiryo"/>
                <a:sym typeface="Meiryo"/>
              </a:rPr>
              <a:t>は、かかりつけ医と患者</a:t>
            </a:r>
            <a:r>
              <a:rPr lang="ja-JP" altLang="en-US" sz="1800" b="1" i="0" strike="noStrike" cap="none" dirty="0">
                <a:solidFill>
                  <a:schemeClr val="tx1"/>
                </a:solidFill>
                <a:latin typeface="Meiryo"/>
                <a:ea typeface="Meiryo"/>
                <a:cs typeface="Meiryo"/>
                <a:sym typeface="Meiryo"/>
              </a:rPr>
              <a:t>様</a:t>
            </a:r>
            <a:r>
              <a:rPr lang="ja-JP" sz="1800" b="1" i="0" u="none" strike="noStrike" cap="none" dirty="0">
                <a:solidFill>
                  <a:srgbClr val="000000"/>
                </a:solidFill>
                <a:latin typeface="Meiryo"/>
                <a:ea typeface="Meiryo"/>
                <a:cs typeface="Meiryo"/>
                <a:sym typeface="Meiryo"/>
              </a:rPr>
              <a:t>をつなぐ、オンライン診療アプリです。</a:t>
            </a:r>
            <a:endParaRPr lang="en-US" altLang="ja-JP" sz="1800" b="1" i="0" u="none" strike="noStrike" cap="none" dirty="0">
              <a:solidFill>
                <a:srgbClr val="000000"/>
              </a:solidFill>
              <a:latin typeface="Meiryo"/>
              <a:ea typeface="Meiryo"/>
              <a:cs typeface="Meiryo"/>
              <a:sym typeface="Meiryo"/>
            </a:endParaRPr>
          </a:p>
          <a:p>
            <a:pPr marL="0" marR="0" lvl="0" indent="0" algn="l" rtl="0">
              <a:lnSpc>
                <a:spcPct val="110000"/>
              </a:lnSpc>
              <a:spcBef>
                <a:spcPts val="0"/>
              </a:spcBef>
              <a:spcAft>
                <a:spcPts val="0"/>
              </a:spcAft>
              <a:buClr>
                <a:srgbClr val="000000"/>
              </a:buClr>
              <a:buSzPts val="1800"/>
              <a:buFont typeface="Arial"/>
              <a:buNone/>
            </a:pPr>
            <a:r>
              <a:rPr lang="ja-JP" sz="1800" b="1" i="0" u="none" strike="noStrike" cap="none" dirty="0">
                <a:solidFill>
                  <a:srgbClr val="000000"/>
                </a:solidFill>
                <a:latin typeface="Meiryo"/>
                <a:ea typeface="Meiryo"/>
                <a:cs typeface="Meiryo"/>
                <a:sym typeface="Meiryo"/>
              </a:rPr>
              <a:t>オンライン診療とは、スマートフォンのアプリケーションを利用して、</a:t>
            </a:r>
            <a:endParaRPr lang="en-US" altLang="ja-JP" sz="1800" b="1" i="0" u="none" strike="noStrike" cap="none" dirty="0">
              <a:solidFill>
                <a:srgbClr val="000000"/>
              </a:solidFill>
              <a:latin typeface="Meiryo"/>
              <a:ea typeface="Meiryo"/>
              <a:cs typeface="Meiryo"/>
              <a:sym typeface="Meiryo"/>
            </a:endParaRPr>
          </a:p>
          <a:p>
            <a:pPr marL="0" marR="0" lvl="0" indent="0" algn="l" rtl="0">
              <a:lnSpc>
                <a:spcPct val="110000"/>
              </a:lnSpc>
              <a:spcBef>
                <a:spcPts val="0"/>
              </a:spcBef>
              <a:spcAft>
                <a:spcPts val="0"/>
              </a:spcAft>
              <a:buClr>
                <a:srgbClr val="000000"/>
              </a:buClr>
              <a:buSzPts val="1800"/>
              <a:buFont typeface="Arial"/>
              <a:buNone/>
            </a:pPr>
            <a:r>
              <a:rPr lang="ja-JP" sz="1800" b="1" i="0" u="none" strike="noStrike" cap="none" dirty="0">
                <a:solidFill>
                  <a:srgbClr val="000000"/>
                </a:solidFill>
                <a:latin typeface="Meiryo"/>
                <a:ea typeface="Meiryo"/>
                <a:cs typeface="Meiryo"/>
                <a:sym typeface="Meiryo"/>
              </a:rPr>
              <a:t>病</a:t>
            </a:r>
            <a:r>
              <a:rPr lang="ja-JP" sz="1800" b="1" i="0" u="none" strike="noStrike" cap="none" spc="-750" dirty="0">
                <a:solidFill>
                  <a:srgbClr val="000000"/>
                </a:solidFill>
                <a:latin typeface="Meiryo"/>
                <a:ea typeface="Meiryo"/>
                <a:cs typeface="Meiryo"/>
                <a:sym typeface="Meiryo"/>
              </a:rPr>
              <a:t>院</a:t>
            </a:r>
            <a:r>
              <a:rPr lang="ja-JP" sz="1800" b="1" i="0" u="none" strike="noStrike" cap="none" dirty="0">
                <a:solidFill>
                  <a:srgbClr val="000000"/>
                </a:solidFill>
                <a:latin typeface="Meiryo"/>
                <a:ea typeface="Meiryo"/>
                <a:cs typeface="Meiryo"/>
                <a:sym typeface="Meiryo"/>
              </a:rPr>
              <a:t>（クリニック</a:t>
            </a:r>
            <a:r>
              <a:rPr lang="ja-JP" sz="1800" b="1" i="0" u="none" strike="noStrike" cap="none" spc="-750" dirty="0">
                <a:solidFill>
                  <a:srgbClr val="000000"/>
                </a:solidFill>
                <a:latin typeface="Meiryo"/>
                <a:ea typeface="Meiryo"/>
                <a:cs typeface="Meiryo"/>
                <a:sym typeface="Meiryo"/>
              </a:rPr>
              <a:t>）</a:t>
            </a:r>
            <a:r>
              <a:rPr lang="ja-JP" sz="1800" b="1" i="0" u="none" strike="noStrike" cap="none" dirty="0">
                <a:solidFill>
                  <a:srgbClr val="000000"/>
                </a:solidFill>
                <a:latin typeface="Meiryo"/>
                <a:ea typeface="Meiryo"/>
                <a:cs typeface="Meiryo"/>
                <a:sym typeface="Meiryo"/>
              </a:rPr>
              <a:t>の予</a:t>
            </a:r>
            <a:r>
              <a:rPr lang="ja-JP" sz="1800" b="1" i="0" u="none" strike="noStrike" cap="none" spc="-300" dirty="0">
                <a:solidFill>
                  <a:srgbClr val="000000"/>
                </a:solidFill>
                <a:latin typeface="Meiryo"/>
                <a:ea typeface="Meiryo"/>
                <a:cs typeface="Meiryo"/>
                <a:sym typeface="Meiryo"/>
              </a:rPr>
              <a:t>約・</a:t>
            </a:r>
            <a:r>
              <a:rPr lang="ja-JP" sz="1800" b="1" i="0" u="none" strike="noStrike" cap="none" dirty="0">
                <a:solidFill>
                  <a:srgbClr val="000000"/>
                </a:solidFill>
                <a:latin typeface="Meiryo"/>
                <a:ea typeface="Meiryo"/>
                <a:cs typeface="Meiryo"/>
                <a:sym typeface="Meiryo"/>
              </a:rPr>
              <a:t>問</a:t>
            </a:r>
            <a:r>
              <a:rPr lang="ja-JP" sz="1800" b="1" i="0" u="none" strike="noStrike" cap="none" spc="-300" dirty="0">
                <a:solidFill>
                  <a:srgbClr val="000000"/>
                </a:solidFill>
                <a:latin typeface="Meiryo"/>
                <a:ea typeface="Meiryo"/>
                <a:cs typeface="Meiryo"/>
                <a:sym typeface="Meiryo"/>
              </a:rPr>
              <a:t>診・</a:t>
            </a:r>
            <a:r>
              <a:rPr lang="ja-JP" sz="1800" b="1" i="0" u="none" strike="noStrike" cap="none" dirty="0">
                <a:solidFill>
                  <a:srgbClr val="000000"/>
                </a:solidFill>
                <a:latin typeface="Meiryo"/>
                <a:ea typeface="Meiryo"/>
                <a:cs typeface="Meiryo"/>
                <a:sym typeface="Meiryo"/>
              </a:rPr>
              <a:t>診</a:t>
            </a:r>
            <a:r>
              <a:rPr lang="ja-JP" sz="1800" b="1" i="0" u="none" strike="noStrike" cap="none" spc="-300" dirty="0">
                <a:solidFill>
                  <a:srgbClr val="000000"/>
                </a:solidFill>
                <a:latin typeface="Meiryo"/>
                <a:ea typeface="Meiryo"/>
                <a:cs typeface="Meiryo"/>
                <a:sym typeface="Meiryo"/>
              </a:rPr>
              <a:t>察・</a:t>
            </a:r>
            <a:r>
              <a:rPr lang="ja-JP" sz="1800" b="1" i="0" u="none" strike="noStrike" cap="none" dirty="0">
                <a:solidFill>
                  <a:srgbClr val="000000"/>
                </a:solidFill>
                <a:latin typeface="Meiryo"/>
                <a:ea typeface="Meiryo"/>
                <a:cs typeface="Meiryo"/>
                <a:sym typeface="Meiryo"/>
              </a:rPr>
              <a:t>処</a:t>
            </a:r>
            <a:r>
              <a:rPr lang="ja-JP" sz="1800" b="1" i="0" u="none" strike="noStrike" cap="none" spc="-300" dirty="0">
                <a:solidFill>
                  <a:srgbClr val="000000"/>
                </a:solidFill>
                <a:latin typeface="Meiryo"/>
                <a:ea typeface="Meiryo"/>
                <a:cs typeface="Meiryo"/>
                <a:sym typeface="Meiryo"/>
              </a:rPr>
              <a:t>方・</a:t>
            </a:r>
            <a:r>
              <a:rPr lang="ja-JP" sz="1800" b="1" i="0" u="none" strike="noStrike" cap="none" dirty="0">
                <a:solidFill>
                  <a:srgbClr val="000000"/>
                </a:solidFill>
                <a:latin typeface="Meiryo"/>
                <a:ea typeface="Meiryo"/>
                <a:cs typeface="Meiryo"/>
                <a:sym typeface="Meiryo"/>
              </a:rPr>
              <a:t>決済までを</a:t>
            </a:r>
            <a:endParaRPr lang="en-US" altLang="ja-JP" sz="1800" b="1" i="0" u="none" strike="noStrike" cap="none" dirty="0">
              <a:solidFill>
                <a:srgbClr val="000000"/>
              </a:solidFill>
              <a:latin typeface="Meiryo"/>
              <a:ea typeface="Meiryo"/>
              <a:cs typeface="Meiryo"/>
              <a:sym typeface="Meiryo"/>
            </a:endParaRPr>
          </a:p>
          <a:p>
            <a:pPr marL="0" marR="0" lvl="0" indent="0" algn="l" rtl="0">
              <a:lnSpc>
                <a:spcPct val="110000"/>
              </a:lnSpc>
              <a:spcBef>
                <a:spcPts val="0"/>
              </a:spcBef>
              <a:spcAft>
                <a:spcPts val="0"/>
              </a:spcAft>
              <a:buClr>
                <a:srgbClr val="000000"/>
              </a:buClr>
              <a:buSzPts val="1800"/>
              <a:buFont typeface="Arial"/>
              <a:buNone/>
            </a:pPr>
            <a:r>
              <a:rPr lang="ja-JP" sz="1800" b="1" i="0" u="none" strike="noStrike" cap="none" dirty="0">
                <a:solidFill>
                  <a:srgbClr val="000000"/>
                </a:solidFill>
                <a:latin typeface="Meiryo"/>
                <a:ea typeface="Meiryo"/>
                <a:cs typeface="Meiryo"/>
                <a:sym typeface="Meiryo"/>
              </a:rPr>
              <a:t>インターネット上で行う診察方法です。</a:t>
            </a:r>
            <a:endParaRPr sz="1800" b="1" i="0" u="none" strike="noStrike" cap="none" dirty="0">
              <a:solidFill>
                <a:srgbClr val="000000"/>
              </a:solidFill>
              <a:latin typeface="Meiryo"/>
              <a:ea typeface="Meiryo"/>
              <a:cs typeface="Meiryo"/>
              <a:sym typeface="Meiryo"/>
            </a:endParaRPr>
          </a:p>
          <a:p>
            <a:pPr marL="0" marR="0" lvl="0" indent="0" algn="l" rtl="0">
              <a:lnSpc>
                <a:spcPct val="110000"/>
              </a:lnSpc>
              <a:spcBef>
                <a:spcPts val="0"/>
              </a:spcBef>
              <a:spcAft>
                <a:spcPts val="0"/>
              </a:spcAft>
              <a:buClr>
                <a:srgbClr val="000000"/>
              </a:buClr>
              <a:buSzPts val="1400"/>
              <a:buFont typeface="Arial"/>
              <a:buNone/>
            </a:pPr>
            <a:r>
              <a:rPr lang="ja-JP" b="1" i="0" u="none" strike="noStrike" cap="none" dirty="0">
                <a:solidFill>
                  <a:schemeClr val="tx1"/>
                </a:solidFill>
                <a:latin typeface="Meiryo"/>
                <a:ea typeface="Meiryo"/>
                <a:cs typeface="Meiryo"/>
                <a:sym typeface="Meiryo"/>
              </a:rPr>
              <a:t>※オンライン診療が受けられるかについては、担当医の方とご相談ください。</a:t>
            </a:r>
            <a:endParaRPr lang="en-US" altLang="ja-JP" b="1" i="0" u="none" strike="noStrike" cap="none" dirty="0">
              <a:solidFill>
                <a:schemeClr val="tx1"/>
              </a:solidFill>
              <a:latin typeface="Meiryo"/>
              <a:ea typeface="Meiryo"/>
              <a:cs typeface="Meiryo"/>
              <a:sym typeface="Meiryo"/>
            </a:endParaRPr>
          </a:p>
          <a:p>
            <a:pPr>
              <a:lnSpc>
                <a:spcPct val="110000"/>
              </a:lnSpc>
              <a:buSzPts val="1400"/>
            </a:pPr>
            <a:r>
              <a:rPr lang="en-US" altLang="ja-JP" b="1" dirty="0">
                <a:solidFill>
                  <a:schemeClr val="tx1"/>
                </a:solidFill>
                <a:latin typeface="Meiryo"/>
                <a:ea typeface="Meiryo"/>
                <a:cs typeface="Meiryo"/>
                <a:sym typeface="Meiryo"/>
              </a:rPr>
              <a:t>※</a:t>
            </a:r>
            <a:r>
              <a:rPr lang="ja-JP" altLang="en-US" b="1" dirty="0">
                <a:solidFill>
                  <a:schemeClr val="tx1"/>
                </a:solidFill>
                <a:latin typeface="Meiryo"/>
                <a:ea typeface="Meiryo"/>
                <a:cs typeface="Meiryo"/>
                <a:sym typeface="Meiryo"/>
              </a:rPr>
              <a:t>利用するためには、アプリ利用料として診察</a:t>
            </a:r>
            <a:r>
              <a:rPr lang="en-US" altLang="ja-JP" b="1" dirty="0">
                <a:solidFill>
                  <a:schemeClr val="tx1"/>
                </a:solidFill>
                <a:latin typeface="Meiryo"/>
                <a:ea typeface="Meiryo"/>
                <a:cs typeface="Meiryo"/>
                <a:sym typeface="Meiryo"/>
              </a:rPr>
              <a:t>1</a:t>
            </a:r>
            <a:r>
              <a:rPr lang="ja-JP" altLang="en-US" b="1" dirty="0">
                <a:solidFill>
                  <a:schemeClr val="tx1"/>
                </a:solidFill>
                <a:latin typeface="Meiryo"/>
                <a:ea typeface="Meiryo"/>
                <a:cs typeface="Meiryo"/>
                <a:sym typeface="Meiryo"/>
              </a:rPr>
              <a:t>回あたり</a:t>
            </a:r>
            <a:r>
              <a:rPr lang="en-US" altLang="ja-JP" b="1" dirty="0">
                <a:solidFill>
                  <a:schemeClr val="tx1"/>
                </a:solidFill>
                <a:latin typeface="Meiryo"/>
                <a:ea typeface="Meiryo"/>
                <a:cs typeface="Meiryo"/>
                <a:sym typeface="Meiryo"/>
              </a:rPr>
              <a:t>330</a:t>
            </a:r>
            <a:r>
              <a:rPr lang="ja-JP" altLang="en-US" b="1" spc="-500" dirty="0">
                <a:solidFill>
                  <a:schemeClr val="tx1"/>
                </a:solidFill>
                <a:latin typeface="Meiryo"/>
                <a:ea typeface="Meiryo"/>
                <a:cs typeface="Meiryo"/>
                <a:sym typeface="Meiryo"/>
              </a:rPr>
              <a:t>円</a:t>
            </a:r>
            <a:r>
              <a:rPr lang="ja-JP" altLang="en-US" b="1" dirty="0">
                <a:solidFill>
                  <a:schemeClr val="tx1"/>
                </a:solidFill>
                <a:latin typeface="Meiryo"/>
                <a:ea typeface="Meiryo"/>
                <a:cs typeface="Meiryo"/>
                <a:sym typeface="Meiryo"/>
              </a:rPr>
              <a:t>（税込</a:t>
            </a:r>
            <a:r>
              <a:rPr lang="ja-JP" altLang="en-US" b="1" spc="-500" dirty="0">
                <a:solidFill>
                  <a:schemeClr val="tx1"/>
                </a:solidFill>
                <a:latin typeface="Meiryo"/>
                <a:ea typeface="Meiryo"/>
                <a:cs typeface="Meiryo"/>
                <a:sym typeface="Meiryo"/>
              </a:rPr>
              <a:t>）</a:t>
            </a:r>
            <a:r>
              <a:rPr lang="ja-JP" altLang="en-US" b="1" dirty="0">
                <a:solidFill>
                  <a:schemeClr val="tx1"/>
                </a:solidFill>
                <a:latin typeface="Meiryo"/>
                <a:ea typeface="Meiryo"/>
                <a:cs typeface="Meiryo"/>
                <a:sym typeface="Meiryo"/>
              </a:rPr>
              <a:t>が必要です。</a:t>
            </a:r>
          </a:p>
          <a:p>
            <a:pPr marL="0" marR="0" lvl="0" indent="0" algn="l" rtl="0">
              <a:lnSpc>
                <a:spcPct val="110000"/>
              </a:lnSpc>
              <a:spcBef>
                <a:spcPts val="0"/>
              </a:spcBef>
              <a:spcAft>
                <a:spcPts val="0"/>
              </a:spcAft>
              <a:buClr>
                <a:srgbClr val="000000"/>
              </a:buClr>
              <a:buSzPts val="1400"/>
              <a:buFont typeface="Arial"/>
              <a:buNone/>
            </a:pPr>
            <a:endParaRPr sz="1800" b="1" i="0" u="none" strike="noStrike" cap="none" dirty="0">
              <a:solidFill>
                <a:schemeClr val="tx1"/>
              </a:solidFill>
              <a:latin typeface="Meiryo"/>
              <a:ea typeface="Meiryo"/>
              <a:cs typeface="Meiryo"/>
              <a:sym typeface="Meiryo"/>
            </a:endParaRPr>
          </a:p>
          <a:p>
            <a:pPr marL="0" marR="0" lvl="0" indent="0" algn="l" rtl="0">
              <a:lnSpc>
                <a:spcPct val="110000"/>
              </a:lnSpc>
              <a:spcBef>
                <a:spcPts val="0"/>
              </a:spcBef>
              <a:spcAft>
                <a:spcPts val="0"/>
              </a:spcAft>
              <a:buClr>
                <a:srgbClr val="000000"/>
              </a:buClr>
              <a:buSzPts val="2400"/>
              <a:buFont typeface="Arial"/>
              <a:buNone/>
            </a:pPr>
            <a:endParaRPr sz="2400" b="1" i="0" u="none" strike="noStrike" cap="none" dirty="0">
              <a:solidFill>
                <a:srgbClr val="000000"/>
              </a:solidFill>
              <a:latin typeface="Meiryo"/>
              <a:ea typeface="Meiryo"/>
              <a:cs typeface="Meiryo"/>
              <a:sym typeface="Meiryo"/>
            </a:endParaRPr>
          </a:p>
        </p:txBody>
      </p:sp>
      <p:sp>
        <p:nvSpPr>
          <p:cNvPr id="60" name="Google Shape;60;p2"/>
          <p:cNvSpPr/>
          <p:nvPr/>
        </p:nvSpPr>
        <p:spPr>
          <a:xfrm>
            <a:off x="479697" y="4762432"/>
            <a:ext cx="1720895" cy="151300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chemeClr val="dk1"/>
              </a:buClr>
              <a:buSzPts val="1100"/>
              <a:buFont typeface="Arial"/>
              <a:buNone/>
            </a:pPr>
            <a:r>
              <a:rPr lang="ja-JP" b="1" i="0" u="none" strike="noStrike" cap="none" dirty="0">
                <a:solidFill>
                  <a:schemeClr val="dk1"/>
                </a:solidFill>
                <a:latin typeface="Meiryo"/>
                <a:ea typeface="Meiryo"/>
                <a:cs typeface="Meiryo"/>
                <a:sym typeface="Meiryo"/>
              </a:rPr>
              <a:t>受診したい</a:t>
            </a:r>
            <a:endParaRPr b="1" i="0" u="none" strike="noStrike" cap="none" dirty="0">
              <a:solidFill>
                <a:schemeClr val="dk1"/>
              </a:solidFill>
              <a:latin typeface="Meiryo"/>
              <a:ea typeface="Meiryo"/>
              <a:cs typeface="Meiryo"/>
              <a:sym typeface="Meiryo"/>
            </a:endParaRPr>
          </a:p>
          <a:p>
            <a:pPr marL="0" marR="0" lvl="0" indent="0" algn="ctr" rtl="0">
              <a:spcBef>
                <a:spcPts val="0"/>
              </a:spcBef>
              <a:spcAft>
                <a:spcPts val="0"/>
              </a:spcAft>
              <a:buClr>
                <a:schemeClr val="dk1"/>
              </a:buClr>
              <a:buSzPts val="1100"/>
              <a:buFont typeface="Arial"/>
              <a:buNone/>
            </a:pPr>
            <a:r>
              <a:rPr lang="ja-JP" b="1" i="0" u="none" strike="noStrike" cap="none" dirty="0">
                <a:solidFill>
                  <a:schemeClr val="dk1"/>
                </a:solidFill>
                <a:latin typeface="Meiryo"/>
                <a:ea typeface="Meiryo"/>
                <a:cs typeface="Meiryo"/>
                <a:sym typeface="Meiryo"/>
              </a:rPr>
              <a:t>医療機関を検索</a:t>
            </a:r>
            <a:endParaRPr b="1" i="0" u="none" strike="noStrike" cap="none" dirty="0">
              <a:solidFill>
                <a:schemeClr val="dk1"/>
              </a:solidFill>
              <a:latin typeface="Meiryo"/>
              <a:ea typeface="Meiryo"/>
              <a:cs typeface="Meiryo"/>
              <a:sym typeface="Meiryo"/>
            </a:endParaRPr>
          </a:p>
          <a:p>
            <a:pPr marL="0" marR="0" lvl="0" indent="0" algn="ctr" rtl="0">
              <a:spcBef>
                <a:spcPts val="0"/>
              </a:spcBef>
              <a:spcAft>
                <a:spcPts val="0"/>
              </a:spcAft>
              <a:buClr>
                <a:schemeClr val="dk1"/>
              </a:buClr>
              <a:buSzPts val="1100"/>
              <a:buFont typeface="Arial"/>
              <a:buNone/>
            </a:pPr>
            <a:r>
              <a:rPr lang="ja-JP" sz="1200" b="0" i="0" u="none" strike="noStrike" cap="none" dirty="0">
                <a:solidFill>
                  <a:schemeClr val="dk1"/>
                </a:solidFill>
                <a:latin typeface="Meiryo"/>
                <a:ea typeface="Meiryo"/>
                <a:cs typeface="Meiryo"/>
                <a:sym typeface="Meiryo"/>
              </a:rPr>
              <a:t>アプリを</a:t>
            </a:r>
            <a:endParaRPr sz="1200" b="0" i="0" u="none" strike="noStrike" cap="none" dirty="0">
              <a:solidFill>
                <a:schemeClr val="dk1"/>
              </a:solidFill>
              <a:latin typeface="Meiryo"/>
              <a:ea typeface="Meiryo"/>
              <a:cs typeface="Meiryo"/>
              <a:sym typeface="Meiryo"/>
            </a:endParaRPr>
          </a:p>
          <a:p>
            <a:pPr marL="0" marR="0" lvl="0" indent="0" algn="ctr" rtl="0">
              <a:spcBef>
                <a:spcPts val="0"/>
              </a:spcBef>
              <a:spcAft>
                <a:spcPts val="0"/>
              </a:spcAft>
              <a:buClr>
                <a:schemeClr val="dk1"/>
              </a:buClr>
              <a:buSzPts val="1100"/>
              <a:buFont typeface="Arial"/>
              <a:buNone/>
            </a:pPr>
            <a:r>
              <a:rPr lang="ja-JP" sz="1200" b="0" i="0" u="none" strike="noStrike" cap="none" dirty="0">
                <a:solidFill>
                  <a:schemeClr val="dk1"/>
                </a:solidFill>
                <a:latin typeface="Meiryo"/>
                <a:ea typeface="Meiryo"/>
                <a:cs typeface="Meiryo"/>
                <a:sym typeface="Meiryo"/>
              </a:rPr>
              <a:t>ダウンロードし、</a:t>
            </a:r>
            <a:endParaRPr sz="1200" b="0" i="0" u="none" strike="noStrike" cap="none" dirty="0">
              <a:solidFill>
                <a:schemeClr val="dk1"/>
              </a:solidFill>
              <a:latin typeface="Meiryo"/>
              <a:ea typeface="Meiryo"/>
              <a:cs typeface="Meiryo"/>
              <a:sym typeface="Meiryo"/>
            </a:endParaRPr>
          </a:p>
          <a:p>
            <a:pPr marL="0" marR="0" lvl="0" indent="0" algn="ctr" rtl="0">
              <a:spcBef>
                <a:spcPts val="0"/>
              </a:spcBef>
              <a:spcAft>
                <a:spcPts val="0"/>
              </a:spcAft>
              <a:buClr>
                <a:schemeClr val="dk1"/>
              </a:buClr>
              <a:buSzPts val="1100"/>
              <a:buFont typeface="Arial"/>
              <a:buNone/>
            </a:pPr>
            <a:r>
              <a:rPr lang="ja-JP" sz="1200" b="0" i="0" u="none" strike="noStrike" cap="none" dirty="0">
                <a:solidFill>
                  <a:schemeClr val="dk1"/>
                </a:solidFill>
                <a:latin typeface="Meiryo"/>
                <a:ea typeface="Meiryo"/>
                <a:cs typeface="Meiryo"/>
                <a:sym typeface="Meiryo"/>
              </a:rPr>
              <a:t>受診したい</a:t>
            </a:r>
            <a:endParaRPr sz="1200" b="0" i="0" u="none" strike="noStrike" cap="none" dirty="0">
              <a:solidFill>
                <a:schemeClr val="dk1"/>
              </a:solidFill>
              <a:latin typeface="Meiryo"/>
              <a:ea typeface="Meiryo"/>
              <a:cs typeface="Meiryo"/>
              <a:sym typeface="Meiryo"/>
            </a:endParaRPr>
          </a:p>
          <a:p>
            <a:pPr marL="0" marR="0" lvl="0" indent="0" algn="ctr" rtl="0">
              <a:spcBef>
                <a:spcPts val="0"/>
              </a:spcBef>
              <a:spcAft>
                <a:spcPts val="0"/>
              </a:spcAft>
              <a:buClr>
                <a:schemeClr val="dk1"/>
              </a:buClr>
              <a:buSzPts val="1100"/>
              <a:buFont typeface="Arial"/>
              <a:buNone/>
            </a:pPr>
            <a:r>
              <a:rPr lang="ja-JP" sz="1200" b="0" i="0" u="none" strike="noStrike" cap="none" dirty="0">
                <a:solidFill>
                  <a:schemeClr val="dk1"/>
                </a:solidFill>
                <a:latin typeface="Meiryo"/>
                <a:ea typeface="Meiryo"/>
                <a:cs typeface="Meiryo"/>
                <a:sym typeface="Meiryo"/>
              </a:rPr>
              <a:t>医療機関を検索</a:t>
            </a:r>
            <a:endParaRPr sz="1200" b="0" i="0" u="none" strike="noStrike" cap="none" dirty="0">
              <a:solidFill>
                <a:schemeClr val="dk1"/>
              </a:solidFill>
              <a:latin typeface="Meiryo"/>
              <a:ea typeface="Meiryo"/>
              <a:cs typeface="Meiryo"/>
              <a:sym typeface="Meiryo"/>
            </a:endParaRPr>
          </a:p>
          <a:p>
            <a:pPr marL="0" marR="0" lvl="0" indent="0" algn="ctr" rtl="0">
              <a:spcBef>
                <a:spcPts val="0"/>
              </a:spcBef>
              <a:spcAft>
                <a:spcPts val="0"/>
              </a:spcAft>
              <a:buClr>
                <a:srgbClr val="000000"/>
              </a:buClr>
              <a:buSzPts val="1200"/>
              <a:buFont typeface="Arial"/>
              <a:buNone/>
            </a:pPr>
            <a:endParaRPr sz="1632" b="1" i="0" u="none" strike="noStrike" cap="none" dirty="0">
              <a:solidFill>
                <a:schemeClr val="dk1"/>
              </a:solidFill>
              <a:latin typeface="Meiryo"/>
              <a:ea typeface="Meiryo"/>
              <a:cs typeface="Meiryo"/>
              <a:sym typeface="Meiryo"/>
            </a:endParaRPr>
          </a:p>
        </p:txBody>
      </p:sp>
      <p:sp>
        <p:nvSpPr>
          <p:cNvPr id="61" name="Google Shape;61;p2"/>
          <p:cNvSpPr/>
          <p:nvPr/>
        </p:nvSpPr>
        <p:spPr>
          <a:xfrm>
            <a:off x="2145400" y="4762425"/>
            <a:ext cx="1620000" cy="12618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Meiryo"/>
                <a:ea typeface="Meiryo"/>
                <a:cs typeface="Meiryo"/>
                <a:sym typeface="Meiryo"/>
              </a:rPr>
              <a:t>診療を</a:t>
            </a:r>
            <a:endParaRPr sz="1400" b="1" i="0" u="none" strike="noStrike" cap="none">
              <a:solidFill>
                <a:srgbClr val="000000"/>
              </a:solidFill>
              <a:latin typeface="Meiryo"/>
              <a:ea typeface="Meiryo"/>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Meiryo"/>
                <a:ea typeface="Meiryo"/>
                <a:cs typeface="Meiryo"/>
                <a:sym typeface="Meiryo"/>
              </a:rPr>
              <a:t>予約・問診回答</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ja-JP" sz="1200" b="0" i="0" u="none" strike="noStrike" cap="none">
                <a:solidFill>
                  <a:schemeClr val="dk1"/>
                </a:solidFill>
                <a:latin typeface="Meiryo"/>
                <a:ea typeface="Meiryo"/>
                <a:cs typeface="Meiryo"/>
                <a:sym typeface="Meiryo"/>
              </a:rPr>
              <a:t>メニューを選択し</a:t>
            </a:r>
            <a:endParaRPr sz="1200" b="0" i="0" u="none" strike="noStrike" cap="none">
              <a:solidFill>
                <a:schemeClr val="dk1"/>
              </a:solidFill>
              <a:latin typeface="Meiryo"/>
              <a:ea typeface="Meiryo"/>
              <a:cs typeface="Meiryo"/>
              <a:sym typeface="Meiryo"/>
            </a:endParaRPr>
          </a:p>
          <a:p>
            <a:pPr marL="0" marR="0" lvl="0" indent="0" algn="ctr" rtl="0">
              <a:lnSpc>
                <a:spcPct val="100000"/>
              </a:lnSpc>
              <a:spcBef>
                <a:spcPts val="0"/>
              </a:spcBef>
              <a:spcAft>
                <a:spcPts val="0"/>
              </a:spcAft>
              <a:buClr>
                <a:srgbClr val="000000"/>
              </a:buClr>
              <a:buSzPts val="1200"/>
              <a:buFont typeface="Arial"/>
              <a:buNone/>
            </a:pPr>
            <a:r>
              <a:rPr lang="ja-JP" sz="1200" b="0" i="0" u="none" strike="noStrike" cap="none">
                <a:solidFill>
                  <a:srgbClr val="000000"/>
                </a:solidFill>
                <a:latin typeface="Meiryo"/>
                <a:ea typeface="Meiryo"/>
                <a:cs typeface="Meiryo"/>
                <a:sym typeface="Meiryo"/>
              </a:rPr>
              <a:t>診察を予約</a:t>
            </a:r>
            <a:r>
              <a:rPr lang="ja-JP" sz="1200" b="0" i="0" u="none" strike="noStrike" cap="none">
                <a:solidFill>
                  <a:schemeClr val="dk1"/>
                </a:solidFill>
                <a:latin typeface="Meiryo"/>
                <a:ea typeface="Meiryo"/>
                <a:cs typeface="Meiryo"/>
                <a:sym typeface="Meiryo"/>
              </a:rPr>
              <a:t>。</a:t>
            </a:r>
            <a:endParaRPr sz="1200" b="0" i="0" u="none" strike="noStrike" cap="none">
              <a:solidFill>
                <a:schemeClr val="dk1"/>
              </a:solidFill>
              <a:latin typeface="Meiryo"/>
              <a:ea typeface="Meiryo"/>
              <a:cs typeface="Meiryo"/>
              <a:sym typeface="Meiryo"/>
            </a:endParaRPr>
          </a:p>
          <a:p>
            <a:pPr marL="0" marR="0" lvl="0" indent="0" algn="ctr" rtl="0">
              <a:lnSpc>
                <a:spcPct val="100000"/>
              </a:lnSpc>
              <a:spcBef>
                <a:spcPts val="0"/>
              </a:spcBef>
              <a:spcAft>
                <a:spcPts val="0"/>
              </a:spcAft>
              <a:buClr>
                <a:srgbClr val="000000"/>
              </a:buClr>
              <a:buSzPts val="1200"/>
              <a:buFont typeface="Arial"/>
              <a:buNone/>
            </a:pPr>
            <a:r>
              <a:rPr lang="ja-JP" sz="1200" b="0" i="0" u="none" strike="noStrike" cap="none">
                <a:solidFill>
                  <a:schemeClr val="dk1"/>
                </a:solidFill>
                <a:latin typeface="Meiryo"/>
                <a:ea typeface="Meiryo"/>
                <a:cs typeface="Meiryo"/>
                <a:sym typeface="Meiryo"/>
              </a:rPr>
              <a:t>医療機関によっては</a:t>
            </a:r>
            <a:endParaRPr sz="1200" b="0" i="0" u="none" strike="noStrike" cap="none">
              <a:solidFill>
                <a:schemeClr val="dk1"/>
              </a:solidFill>
              <a:latin typeface="Meiryo"/>
              <a:ea typeface="Meiryo"/>
              <a:cs typeface="Meiryo"/>
              <a:sym typeface="Meiryo"/>
            </a:endParaRPr>
          </a:p>
          <a:p>
            <a:pPr marL="0" marR="0" lvl="0" indent="0" algn="ctr" rtl="0">
              <a:lnSpc>
                <a:spcPct val="100000"/>
              </a:lnSpc>
              <a:spcBef>
                <a:spcPts val="0"/>
              </a:spcBef>
              <a:spcAft>
                <a:spcPts val="0"/>
              </a:spcAft>
              <a:buClr>
                <a:srgbClr val="000000"/>
              </a:buClr>
              <a:buSzPts val="1200"/>
              <a:buFont typeface="Arial"/>
              <a:buNone/>
            </a:pPr>
            <a:r>
              <a:rPr lang="ja-JP" sz="1200" b="0" i="0" u="none" strike="noStrike" cap="none">
                <a:solidFill>
                  <a:schemeClr val="dk1"/>
                </a:solidFill>
                <a:latin typeface="Meiryo"/>
                <a:ea typeface="Meiryo"/>
                <a:cs typeface="Meiryo"/>
                <a:sym typeface="Meiryo"/>
              </a:rPr>
              <a:t>事前</a:t>
            </a:r>
            <a:r>
              <a:rPr lang="ja-JP" sz="1200" b="0" i="0" u="none" strike="noStrike" cap="none">
                <a:solidFill>
                  <a:srgbClr val="000000"/>
                </a:solidFill>
                <a:latin typeface="Meiryo"/>
                <a:ea typeface="Meiryo"/>
                <a:cs typeface="Meiryo"/>
                <a:sym typeface="Meiryo"/>
              </a:rPr>
              <a:t>問診に回答。</a:t>
            </a:r>
            <a:endParaRPr sz="1400" b="0" i="0" u="none" strike="noStrike" cap="none">
              <a:solidFill>
                <a:srgbClr val="000000"/>
              </a:solidFill>
              <a:latin typeface="Arial"/>
              <a:ea typeface="Arial"/>
              <a:cs typeface="Arial"/>
              <a:sym typeface="Arial"/>
            </a:endParaRPr>
          </a:p>
        </p:txBody>
      </p:sp>
      <p:sp>
        <p:nvSpPr>
          <p:cNvPr id="62" name="Google Shape;62;p2"/>
          <p:cNvSpPr/>
          <p:nvPr/>
        </p:nvSpPr>
        <p:spPr>
          <a:xfrm>
            <a:off x="3821880" y="4762425"/>
            <a:ext cx="1516500" cy="144650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Meiryo"/>
                <a:ea typeface="Meiryo"/>
                <a:cs typeface="Meiryo"/>
                <a:sym typeface="Meiryo"/>
              </a:rPr>
              <a:t>ビデオ通話で</a:t>
            </a:r>
            <a:endParaRPr sz="1400" b="1" i="0" u="none" strike="noStrike" cap="none">
              <a:solidFill>
                <a:srgbClr val="000000"/>
              </a:solidFill>
              <a:latin typeface="Meiryo"/>
              <a:ea typeface="Meiryo"/>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Meiryo"/>
                <a:ea typeface="Meiryo"/>
                <a:cs typeface="Meiryo"/>
                <a:sym typeface="Meiryo"/>
              </a:rPr>
              <a:t>診察</a:t>
            </a:r>
            <a:endParaRPr sz="1400" b="1" i="0" u="none" strike="noStrike" cap="none">
              <a:solidFill>
                <a:srgbClr val="000000"/>
              </a:solidFill>
              <a:latin typeface="Meiryo"/>
              <a:ea typeface="Meiryo"/>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Meiryo"/>
                <a:ea typeface="Meiryo"/>
                <a:cs typeface="Meiryo"/>
                <a:sym typeface="Meiryo"/>
              </a:rPr>
              <a:t>予約した診療時間になったら、</a:t>
            </a:r>
            <a:endParaRPr sz="1200" b="0" i="0" u="none" strike="noStrike" cap="none">
              <a:solidFill>
                <a:schemeClr val="dk1"/>
              </a:solidFill>
              <a:latin typeface="Meiryo"/>
              <a:ea typeface="Meiryo"/>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Meiryo"/>
                <a:ea typeface="Meiryo"/>
                <a:cs typeface="Meiryo"/>
                <a:sym typeface="Meiryo"/>
              </a:rPr>
              <a:t>ビデオ通話に入室。医師も入室したら診察開始。</a:t>
            </a:r>
            <a:endParaRPr sz="1200" b="0" i="0" u="none" strike="noStrike" cap="none">
              <a:solidFill>
                <a:schemeClr val="dk1"/>
              </a:solidFill>
              <a:latin typeface="Meiryo"/>
              <a:ea typeface="Meiryo"/>
              <a:cs typeface="Meiryo"/>
              <a:sym typeface="Meiryo"/>
            </a:endParaRPr>
          </a:p>
        </p:txBody>
      </p:sp>
      <p:sp>
        <p:nvSpPr>
          <p:cNvPr id="63" name="Google Shape;63;p2"/>
          <p:cNvSpPr/>
          <p:nvPr/>
        </p:nvSpPr>
        <p:spPr>
          <a:xfrm>
            <a:off x="5391524" y="4762414"/>
            <a:ext cx="1620000" cy="13278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Meiryo"/>
                <a:ea typeface="Meiryo"/>
                <a:cs typeface="Meiryo"/>
                <a:sym typeface="Meiryo"/>
              </a:rPr>
              <a:t>クレジット</a:t>
            </a:r>
            <a:endParaRPr sz="1400" b="1" i="0" u="none" strike="noStrike" cap="none">
              <a:solidFill>
                <a:srgbClr val="000000"/>
              </a:solidFill>
              <a:latin typeface="Meiryo"/>
              <a:ea typeface="Meiryo"/>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Meiryo"/>
                <a:ea typeface="Meiryo"/>
                <a:cs typeface="Meiryo"/>
                <a:sym typeface="Meiryo"/>
              </a:rPr>
              <a:t>カードで決済</a:t>
            </a:r>
            <a:endParaRPr sz="1400" b="1" i="0" u="none" strike="noStrike" cap="none">
              <a:solidFill>
                <a:srgbClr val="000000"/>
              </a:solidFill>
              <a:latin typeface="Meiryo"/>
              <a:ea typeface="Meiryo"/>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Meiryo"/>
                <a:ea typeface="Meiryo"/>
                <a:cs typeface="Meiryo"/>
                <a:sym typeface="Meiryo"/>
              </a:rPr>
              <a:t>登録しておいた</a:t>
            </a:r>
            <a:endParaRPr sz="1200" b="0" i="0" u="none" strike="noStrike" cap="none">
              <a:solidFill>
                <a:schemeClr val="dk1"/>
              </a:solidFill>
              <a:latin typeface="Meiryo"/>
              <a:ea typeface="Meiryo"/>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Meiryo"/>
                <a:ea typeface="Meiryo"/>
                <a:cs typeface="Meiryo"/>
                <a:sym typeface="Meiryo"/>
              </a:rPr>
              <a:t>クレジットカードで決済。</a:t>
            </a:r>
            <a:endParaRPr sz="1200" b="0" i="0" u="none" strike="noStrike" cap="none">
              <a:solidFill>
                <a:schemeClr val="dk1"/>
              </a:solidFill>
              <a:latin typeface="Meiryo"/>
              <a:ea typeface="Meiryo"/>
              <a:cs typeface="Meiryo"/>
              <a:sym typeface="Meiryo"/>
            </a:endParaRPr>
          </a:p>
          <a:p>
            <a:pPr marL="0" marR="0" lvl="0" indent="0" algn="ctr" rtl="0">
              <a:lnSpc>
                <a:spcPct val="100000"/>
              </a:lnSpc>
              <a:spcBef>
                <a:spcPts val="0"/>
              </a:spcBef>
              <a:spcAft>
                <a:spcPts val="0"/>
              </a:spcAft>
              <a:buClr>
                <a:srgbClr val="000000"/>
              </a:buClr>
              <a:buSzPts val="1400"/>
              <a:buFont typeface="Arial"/>
              <a:buNone/>
            </a:pPr>
            <a:endParaRPr sz="1632" b="1" i="0" u="none" strike="noStrike" cap="none">
              <a:solidFill>
                <a:schemeClr val="dk1"/>
              </a:solidFill>
              <a:latin typeface="Meiryo"/>
              <a:ea typeface="Meiryo"/>
              <a:cs typeface="Meiryo"/>
              <a:sym typeface="Meiryo"/>
            </a:endParaRPr>
          </a:p>
        </p:txBody>
      </p:sp>
      <p:sp>
        <p:nvSpPr>
          <p:cNvPr id="64" name="Google Shape;64;p2"/>
          <p:cNvSpPr/>
          <p:nvPr/>
        </p:nvSpPr>
        <p:spPr>
          <a:xfrm>
            <a:off x="6959501" y="4762471"/>
            <a:ext cx="1728000" cy="144650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ja-JP" b="1" i="0" u="none" strike="noStrike" cap="none">
                <a:solidFill>
                  <a:schemeClr val="dk1"/>
                </a:solidFill>
                <a:latin typeface="Meiryo"/>
                <a:ea typeface="Meiryo"/>
                <a:cs typeface="Meiryo"/>
                <a:sym typeface="Meiryo"/>
              </a:rPr>
              <a:t>お薬/</a:t>
            </a:r>
            <a:r>
              <a:rPr lang="ja-JP" b="1" i="0" u="none" strike="noStrike" cap="none">
                <a:solidFill>
                  <a:srgbClr val="000000"/>
                </a:solidFill>
                <a:latin typeface="Meiryo"/>
                <a:ea typeface="Meiryo"/>
                <a:cs typeface="Meiryo"/>
                <a:sym typeface="Meiryo"/>
              </a:rPr>
              <a:t>処方箋が</a:t>
            </a:r>
            <a:endParaRPr b="1" i="0" u="none" strike="noStrike" cap="none">
              <a:solidFill>
                <a:srgbClr val="000000"/>
              </a:solidFill>
              <a:latin typeface="Meiryo"/>
              <a:ea typeface="Meiryo"/>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b="1" i="0" u="none" strike="noStrike" cap="none">
                <a:solidFill>
                  <a:srgbClr val="000000"/>
                </a:solidFill>
                <a:latin typeface="Meiryo"/>
                <a:ea typeface="Meiryo"/>
                <a:cs typeface="Meiryo"/>
                <a:sym typeface="Meiryo"/>
              </a:rPr>
              <a:t>届く</a:t>
            </a:r>
            <a:endParaRPr b="1" i="0" u="none" strike="noStrike" cap="none">
              <a:solidFill>
                <a:srgbClr val="000000"/>
              </a:solidFill>
              <a:latin typeface="Meiryo"/>
              <a:ea typeface="Meiryo"/>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Meiryo"/>
                <a:ea typeface="Meiryo"/>
                <a:cs typeface="Meiryo"/>
                <a:sym typeface="Meiryo"/>
              </a:rPr>
              <a:t>病院でお薬を</a:t>
            </a:r>
            <a:endParaRPr sz="1200" b="0" i="0" u="none" strike="noStrike" cap="none">
              <a:solidFill>
                <a:schemeClr val="dk1"/>
              </a:solidFill>
              <a:latin typeface="Meiryo"/>
              <a:ea typeface="Meiryo"/>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Meiryo"/>
                <a:ea typeface="Meiryo"/>
                <a:cs typeface="Meiryo"/>
                <a:sym typeface="Meiryo"/>
              </a:rPr>
              <a:t>出せる場合はお薬が</a:t>
            </a:r>
            <a:endParaRPr sz="1200" b="0" i="0" u="none" strike="noStrike" cap="none">
              <a:solidFill>
                <a:schemeClr val="dk1"/>
              </a:solidFill>
              <a:latin typeface="Meiryo"/>
              <a:ea typeface="Meiryo"/>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Meiryo"/>
                <a:ea typeface="Meiryo"/>
                <a:cs typeface="Meiryo"/>
                <a:sym typeface="Meiryo"/>
              </a:rPr>
              <a:t>郵送されます。</a:t>
            </a:r>
            <a:endParaRPr sz="1200" b="0" i="0" u="none" strike="noStrike" cap="none">
              <a:solidFill>
                <a:schemeClr val="dk1"/>
              </a:solidFill>
              <a:latin typeface="Meiryo"/>
              <a:ea typeface="Meiryo"/>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Meiryo"/>
                <a:ea typeface="Meiryo"/>
                <a:cs typeface="Meiryo"/>
                <a:sym typeface="Meiryo"/>
              </a:rPr>
              <a:t>薬局で出す場合は</a:t>
            </a:r>
            <a:endParaRPr sz="1200" b="0" i="0" u="none" strike="noStrike" cap="none">
              <a:solidFill>
                <a:schemeClr val="dk1"/>
              </a:solidFill>
              <a:latin typeface="Meiryo"/>
              <a:ea typeface="Meiryo"/>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Meiryo"/>
                <a:ea typeface="Meiryo"/>
                <a:cs typeface="Meiryo"/>
                <a:sym typeface="Meiryo"/>
              </a:rPr>
              <a:t>処方箋が発送されます。</a:t>
            </a:r>
            <a:endParaRPr sz="1632" b="1" i="0" u="none" strike="noStrike" cap="none">
              <a:solidFill>
                <a:schemeClr val="dk1"/>
              </a:solidFill>
              <a:latin typeface="Meiryo"/>
              <a:ea typeface="Meiryo"/>
              <a:cs typeface="Meiryo"/>
              <a:sym typeface="Meiryo"/>
            </a:endParaRPr>
          </a:p>
        </p:txBody>
      </p:sp>
      <p:pic>
        <p:nvPicPr>
          <p:cNvPr id="65" name="Google Shape;65;p2" descr="オンライン診療アプリ「クロン」の病院の予約、診療、決済、お薬を受け取るまでの流れを表したイラスト"/>
          <p:cNvPicPr preferRelativeResize="0">
            <a:picLocks noChangeAspect="1"/>
          </p:cNvPicPr>
          <p:nvPr/>
        </p:nvPicPr>
        <p:blipFill rotWithShape="1">
          <a:blip r:embed="rId3">
            <a:alphaModFix/>
          </a:blip>
          <a:srcRect l="2078" r="2961"/>
          <a:stretch/>
        </p:blipFill>
        <p:spPr>
          <a:xfrm>
            <a:off x="606425" y="3367552"/>
            <a:ext cx="7931150" cy="1339480"/>
          </a:xfrm>
          <a:prstGeom prst="rect">
            <a:avLst/>
          </a:prstGeom>
          <a:noFill/>
          <a:ln>
            <a:noFill/>
          </a:ln>
        </p:spPr>
      </p:pic>
      <p:sp>
        <p:nvSpPr>
          <p:cNvPr id="1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13" name="タイトル 9">
            <a:extLst>
              <a:ext uri="{FF2B5EF4-FFF2-40B4-BE49-F238E27FC236}">
                <a16:creationId xmlns:a16="http://schemas.microsoft.com/office/drawing/2014/main" id="{FDDA2747-DBA5-44E4-A04D-BE8E8CD8D716}"/>
              </a:ext>
            </a:extLst>
          </p:cNvPr>
          <p:cNvSpPr txBox="1">
            <a:spLocks/>
          </p:cNvSpPr>
          <p:nvPr/>
        </p:nvSpPr>
        <p:spPr>
          <a:xfrm>
            <a:off x="1865212" y="130231"/>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lvl="0">
              <a:spcBef>
                <a:spcPts val="85"/>
              </a:spcBef>
            </a:pPr>
            <a:r>
              <a:rPr lang="ja-JP" altLang="en-US" sz="3200" spc="-150" dirty="0">
                <a:latin typeface="Meiryo"/>
                <a:ea typeface="Meiryo"/>
                <a:cs typeface="Meiryo"/>
                <a:sym typeface="Meiryo"/>
              </a:rPr>
              <a:t>オンライン診療アプリ</a:t>
            </a:r>
            <a:r>
              <a:rPr lang="en-US" altLang="ja-JP" sz="3200" spc="-150" dirty="0">
                <a:latin typeface="Meiryo"/>
                <a:ea typeface="Meiryo"/>
                <a:cs typeface="Meiryo"/>
                <a:sym typeface="Meiryo"/>
              </a:rPr>
              <a:t>curo</a:t>
            </a:r>
            <a:r>
              <a:rPr lang="en-US" altLang="ja-JP" sz="3200" spc="-1250" dirty="0">
                <a:latin typeface="Meiryo"/>
                <a:ea typeface="Meiryo"/>
                <a:cs typeface="Meiryo"/>
                <a:sym typeface="Meiryo"/>
              </a:rPr>
              <a:t>n</a:t>
            </a:r>
            <a:r>
              <a:rPr lang="ja-JP" altLang="en-US" sz="3200" b="0" spc="-150" dirty="0">
                <a:latin typeface="Meiryo"/>
                <a:ea typeface="Meiryo"/>
                <a:cs typeface="Meiryo"/>
                <a:sym typeface="Meiryo"/>
              </a:rPr>
              <a:t>［</a:t>
            </a:r>
            <a:r>
              <a:rPr lang="ja-JP" altLang="en-US" sz="3200" spc="-150" dirty="0">
                <a:latin typeface="Meiryo"/>
                <a:ea typeface="Meiryo"/>
                <a:cs typeface="Meiryo"/>
                <a:sym typeface="Meiryo"/>
              </a:rPr>
              <a:t>クロン</a:t>
            </a:r>
            <a:r>
              <a:rPr lang="ja-JP" altLang="en-US" sz="3200" b="0" spc="-150" dirty="0">
                <a:latin typeface="Meiryo"/>
                <a:ea typeface="Meiryo"/>
                <a:cs typeface="Meiryo"/>
                <a:sym typeface="Meiryo"/>
              </a:rPr>
              <a:t>］</a:t>
            </a:r>
            <a:endParaRPr lang="ja-JP" altLang="en-US" sz="3200" spc="-15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98"/>
        <p:cNvGrpSpPr/>
        <p:nvPr/>
      </p:nvGrpSpPr>
      <p:grpSpPr>
        <a:xfrm>
          <a:off x="0" y="0"/>
          <a:ext cx="0" cy="0"/>
          <a:chOff x="0" y="0"/>
          <a:chExt cx="0" cy="0"/>
        </a:xfrm>
      </p:grpSpPr>
      <p:sp>
        <p:nvSpPr>
          <p:cNvPr id="300" name="Google Shape;300;p8"/>
          <p:cNvSpPr txBox="1"/>
          <p:nvPr/>
        </p:nvSpPr>
        <p:spPr>
          <a:xfrm>
            <a:off x="313524" y="1910246"/>
            <a:ext cx="2160000" cy="3808079"/>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47663" algn="l"/>
              </a:tabLst>
            </a:pPr>
            <a:r>
              <a:rPr lang="ja-JP" sz="2400" b="1" i="0" u="none" strike="noStrike" cap="none" dirty="0">
                <a:solidFill>
                  <a:srgbClr val="009650"/>
                </a:solidFill>
                <a:latin typeface="Meiryo"/>
                <a:ea typeface="Meiryo"/>
                <a:cs typeface="Meiryo"/>
                <a:sym typeface="Meiryo"/>
              </a:rPr>
              <a:t>❶</a:t>
            </a:r>
            <a:r>
              <a:rPr lang="en-US" altLang="ja-JP" sz="1800" b="1" i="0" u="none" strike="noStrike" cap="none"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ホーム画面から</a:t>
            </a: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クロン施設</a:t>
            </a:r>
            <a:endParaRPr lang="en-US" altLang="ja-JP" sz="1800" b="1" dirty="0">
              <a:solidFill>
                <a:schemeClr val="dk1"/>
              </a:solidFill>
              <a:latin typeface="Meiryo"/>
              <a:ea typeface="Meiryo"/>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コードをお持ち</a:t>
            </a:r>
            <a:endParaRPr lang="en-US" altLang="ja-JP" sz="1800" b="1" dirty="0">
              <a:solidFill>
                <a:schemeClr val="dk1"/>
              </a:solidFill>
              <a:latin typeface="Meiryo"/>
              <a:ea typeface="Meiryo"/>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の場合</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タップ </a:t>
            </a:r>
            <a:endParaRPr sz="1800" b="1" dirty="0">
              <a:solidFill>
                <a:schemeClr val="dk1"/>
              </a:solidFill>
              <a:latin typeface="Meiryo"/>
              <a:ea typeface="Meiryo"/>
              <a:cs typeface="Meiryo"/>
              <a:sym typeface="Meiryo"/>
            </a:endParaRPr>
          </a:p>
          <a:p>
            <a:pPr marL="9525" marR="4343" lvl="0" algn="l" rtl="0">
              <a:spcBef>
                <a:spcPts val="85"/>
              </a:spcBef>
              <a:spcAft>
                <a:spcPts val="0"/>
              </a:spcAft>
              <a:buNone/>
              <a:tabLst>
                <a:tab pos="347663" algn="l"/>
              </a:tabLst>
            </a:pPr>
            <a:r>
              <a:rPr lang="ja-JP" sz="2400" b="1" i="0" u="none" strike="noStrike" cap="none" dirty="0">
                <a:solidFill>
                  <a:srgbClr val="009650"/>
                </a:solidFill>
                <a:latin typeface="Meiryo"/>
                <a:ea typeface="Meiryo"/>
                <a:cs typeface="Meiryo"/>
                <a:sym typeface="Meiryo"/>
              </a:rPr>
              <a:t>❷</a:t>
            </a:r>
            <a:r>
              <a:rPr lang="en-US" altLang="ja-JP" sz="1800" b="1"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表示画面に</a:t>
            </a:r>
            <a:r>
              <a:rPr lang="en-US" altLang="ja-JP" sz="1800" b="1" dirty="0">
                <a:solidFill>
                  <a:schemeClr val="dk1"/>
                </a:solidFill>
                <a:latin typeface="Meiryo"/>
                <a:ea typeface="Meiryo"/>
                <a:cs typeface="Meiryo"/>
                <a:sym typeface="Meiryo"/>
              </a:rPr>
              <a:t>4</a:t>
            </a:r>
            <a:r>
              <a:rPr lang="ja-JP" sz="1800" b="1" dirty="0">
                <a:solidFill>
                  <a:schemeClr val="dk1"/>
                </a:solidFill>
                <a:latin typeface="Meiryo"/>
                <a:ea typeface="Meiryo"/>
                <a:cs typeface="Meiryo"/>
                <a:sym typeface="Meiryo"/>
              </a:rPr>
              <a:t>桁の</a:t>
            </a:r>
            <a:endParaRPr lang="en-US" altLang="ja-JP" sz="1800" b="1" dirty="0">
              <a:solidFill>
                <a:schemeClr val="dk1"/>
              </a:solidFill>
              <a:latin typeface="Meiryo"/>
              <a:ea typeface="Meiryo"/>
              <a:cs typeface="Meiryo"/>
              <a:sym typeface="Meiryo"/>
            </a:endParaRPr>
          </a:p>
          <a:p>
            <a:pPr marL="9525" marR="4343" lvl="0" algn="l" rtl="0">
              <a:spcBef>
                <a:spcPts val="85"/>
              </a:spcBef>
              <a:spcAft>
                <a:spcPts val="0"/>
              </a:spcAft>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クロン施設</a:t>
            </a:r>
            <a:endParaRPr lang="en-US" altLang="ja-JP" sz="1800" b="1" dirty="0">
              <a:solidFill>
                <a:schemeClr val="dk1"/>
              </a:solidFill>
              <a:latin typeface="Meiryo"/>
              <a:ea typeface="Meiryo"/>
              <a:cs typeface="Meiryo"/>
              <a:sym typeface="Meiryo"/>
            </a:endParaRPr>
          </a:p>
          <a:p>
            <a:pPr marL="9525" marR="4343" lvl="0" algn="l" rtl="0">
              <a:spcBef>
                <a:spcPts val="85"/>
              </a:spcBef>
              <a:spcAft>
                <a:spcPts val="0"/>
              </a:spcAft>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コード</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入力</a:t>
            </a:r>
            <a:endParaRPr sz="1800" b="1" dirty="0">
              <a:solidFill>
                <a:schemeClr val="dk1"/>
              </a:solidFill>
              <a:latin typeface="Meiryo"/>
              <a:ea typeface="Meiryo"/>
              <a:cs typeface="Meiryo"/>
              <a:sym typeface="Meiryo"/>
            </a:endParaRPr>
          </a:p>
          <a:p>
            <a:pPr marL="9525" marR="4344" lvl="0" algn="l" rtl="0">
              <a:spcBef>
                <a:spcPts val="85"/>
              </a:spcBef>
              <a:spcAft>
                <a:spcPts val="0"/>
              </a:spcAft>
              <a:buNone/>
              <a:tabLst>
                <a:tab pos="347663" algn="l"/>
              </a:tabLst>
            </a:pPr>
            <a:r>
              <a:rPr lang="ja-JP" sz="2400" b="1" dirty="0">
                <a:solidFill>
                  <a:srgbClr val="009650"/>
                </a:solidFill>
                <a:latin typeface="Meiryo"/>
                <a:ea typeface="Meiryo"/>
                <a:cs typeface="Meiryo"/>
                <a:sym typeface="Meiryo"/>
              </a:rPr>
              <a:t>❸</a:t>
            </a:r>
            <a:r>
              <a:rPr lang="en-US" altLang="ja-JP" sz="1800" b="1"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最下部の</a:t>
            </a:r>
            <a:endParaRPr lang="en-US" altLang="ja-JP" sz="1800" b="1" dirty="0">
              <a:solidFill>
                <a:schemeClr val="dk1"/>
              </a:solidFill>
              <a:latin typeface="Meiryo"/>
              <a:ea typeface="Meiryo"/>
              <a:cs typeface="Meiryo"/>
              <a:sym typeface="Meiryo"/>
            </a:endParaRPr>
          </a:p>
          <a:p>
            <a:pPr marL="9525" marR="4344" lvl="0" algn="l" rtl="0">
              <a:spcBef>
                <a:spcPts val="85"/>
              </a:spcBef>
              <a:spcAft>
                <a:spcPts val="0"/>
              </a:spcAft>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医療機関を</a:t>
            </a:r>
            <a:endParaRPr lang="en-US" altLang="ja-JP" sz="1800" b="1" dirty="0">
              <a:solidFill>
                <a:schemeClr val="dk1"/>
              </a:solidFill>
              <a:latin typeface="Meiryo"/>
              <a:ea typeface="Meiryo"/>
              <a:cs typeface="Meiryo"/>
              <a:sym typeface="Meiryo"/>
            </a:endParaRPr>
          </a:p>
          <a:p>
            <a:pPr marL="9525" marR="4344" lvl="0" algn="l" rtl="0">
              <a:spcBef>
                <a:spcPts val="85"/>
              </a:spcBef>
              <a:spcAft>
                <a:spcPts val="0"/>
              </a:spcAft>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検索</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タップ</a:t>
            </a:r>
            <a:endParaRPr sz="1800" b="1" i="0" u="none" strike="noStrike" cap="none"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sz="2400" b="1" dirty="0">
                <a:solidFill>
                  <a:srgbClr val="009650"/>
                </a:solidFill>
                <a:latin typeface="Meiryo"/>
                <a:ea typeface="Meiryo"/>
                <a:cs typeface="Meiryo"/>
                <a:sym typeface="Meiryo"/>
              </a:rPr>
              <a:t>❹</a:t>
            </a:r>
            <a:r>
              <a:rPr lang="en-US" altLang="ja-JP" sz="2400" b="1" dirty="0">
                <a:solidFill>
                  <a:srgbClr val="009650"/>
                </a:solidFill>
                <a:latin typeface="Meiryo"/>
                <a:ea typeface="Meiryo"/>
                <a:cs typeface="Meiryo"/>
                <a:sym typeface="Meiryo"/>
              </a:rPr>
              <a:t>	</a:t>
            </a:r>
            <a:r>
              <a:rPr lang="ja-JP" altLang="en-US" sz="1800" b="1" dirty="0">
                <a:solidFill>
                  <a:schemeClr val="dk1"/>
                </a:solidFill>
                <a:latin typeface="Meiryo"/>
                <a:ea typeface="Meiryo"/>
                <a:cs typeface="Meiryo"/>
                <a:sym typeface="Meiryo"/>
              </a:rPr>
              <a:t>検索結果が</a:t>
            </a:r>
            <a:endParaRPr lang="en-US" altLang="ja-JP" sz="1800" b="1"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en-US" altLang="ja-JP" sz="1800" b="1" dirty="0">
                <a:solidFill>
                  <a:schemeClr val="dk1"/>
                </a:solidFill>
                <a:latin typeface="Meiryo"/>
                <a:ea typeface="Meiryo"/>
                <a:cs typeface="Meiryo"/>
                <a:sym typeface="Meiryo"/>
              </a:rPr>
              <a:t>	</a:t>
            </a:r>
            <a:r>
              <a:rPr lang="ja-JP" altLang="en-US" sz="1800" b="1" dirty="0">
                <a:solidFill>
                  <a:schemeClr val="dk1"/>
                </a:solidFill>
                <a:latin typeface="Meiryo"/>
                <a:ea typeface="Meiryo"/>
                <a:cs typeface="Meiryo"/>
                <a:sym typeface="Meiryo"/>
              </a:rPr>
              <a:t>表示されます</a:t>
            </a:r>
            <a:endParaRPr sz="1800" b="1" dirty="0">
              <a:solidFill>
                <a:schemeClr val="dk1"/>
              </a:solidFill>
              <a:latin typeface="Meiryo"/>
              <a:ea typeface="Meiryo"/>
              <a:cs typeface="Meiryo"/>
              <a:sym typeface="Meiryo"/>
            </a:endParaRPr>
          </a:p>
        </p:txBody>
      </p:sp>
      <p:sp>
        <p:nvSpPr>
          <p:cNvPr id="301" name="Google Shape;301;p8"/>
          <p:cNvSpPr txBox="1"/>
          <p:nvPr/>
        </p:nvSpPr>
        <p:spPr>
          <a:xfrm>
            <a:off x="530000" y="1349750"/>
            <a:ext cx="4495200" cy="324000"/>
          </a:xfrm>
          <a:prstGeom prst="rect">
            <a:avLst/>
          </a:prstGeom>
          <a:noFill/>
          <a:ln>
            <a:noFill/>
          </a:ln>
        </p:spPr>
        <p:txBody>
          <a:bodyPr spcFirstLastPara="1" wrap="square" lIns="91425" tIns="91425" rIns="91425" bIns="91425" anchor="t" anchorCtr="0">
            <a:spAutoFit/>
          </a:bodyPr>
          <a:lstStyle/>
          <a:p>
            <a:pPr marL="0" marR="0" lvl="0" indent="0" algn="l" rtl="0">
              <a:spcBef>
                <a:spcPts val="0"/>
              </a:spcBef>
              <a:spcAft>
                <a:spcPts val="0"/>
              </a:spcAft>
              <a:buClr>
                <a:schemeClr val="dk1"/>
              </a:buClr>
              <a:buSzPts val="1800"/>
              <a:buFont typeface="Meiryo"/>
              <a:buNone/>
            </a:pPr>
            <a:r>
              <a:rPr lang="ja-JP" sz="1800" b="1" dirty="0">
                <a:solidFill>
                  <a:srgbClr val="009650"/>
                </a:solidFill>
                <a:latin typeface="Meiryo"/>
                <a:ea typeface="Meiryo"/>
                <a:cs typeface="Meiryo"/>
                <a:sym typeface="Meiryo"/>
              </a:rPr>
              <a:t>クロン施設コードをお持ちの場合</a:t>
            </a:r>
            <a:endParaRPr sz="1800" b="1" dirty="0">
              <a:solidFill>
                <a:srgbClr val="009650"/>
              </a:solidFill>
              <a:latin typeface="Meiryo"/>
              <a:ea typeface="Meiryo"/>
              <a:cs typeface="Meiryo"/>
              <a:sym typeface="Meiryo"/>
            </a:endParaRPr>
          </a:p>
          <a:p>
            <a:pPr marL="0" marR="0" lvl="0" indent="0" algn="l" rtl="0">
              <a:spcBef>
                <a:spcPts val="0"/>
              </a:spcBef>
              <a:spcAft>
                <a:spcPts val="0"/>
              </a:spcAft>
              <a:buClr>
                <a:schemeClr val="dk1"/>
              </a:buClr>
              <a:buSzPts val="1800"/>
              <a:buFont typeface="Meiryo"/>
              <a:buNone/>
            </a:pPr>
            <a:endParaRPr sz="1800" b="1" dirty="0">
              <a:solidFill>
                <a:schemeClr val="dk1"/>
              </a:solidFill>
              <a:latin typeface="Meiryo"/>
              <a:ea typeface="Meiryo"/>
              <a:cs typeface="Meiryo"/>
              <a:sym typeface="Meiryo"/>
            </a:endParaRPr>
          </a:p>
        </p:txBody>
      </p:sp>
      <p:pic>
        <p:nvPicPr>
          <p:cNvPr id="303" name="Google Shape;303;p8" descr="クロンのホーム画面の「クロン施設コードをお持ちの場合」をタップしている画像"/>
          <p:cNvPicPr preferRelativeResize="0">
            <a:picLocks noChangeAspect="1"/>
          </p:cNvPicPr>
          <p:nvPr/>
        </p:nvPicPr>
        <p:blipFill>
          <a:blip r:embed="rId3">
            <a:alphaModFix/>
          </a:blip>
          <a:stretch>
            <a:fillRect/>
          </a:stretch>
        </p:blipFill>
        <p:spPr>
          <a:xfrm>
            <a:off x="2602003" y="1996695"/>
            <a:ext cx="1620000" cy="3507867"/>
          </a:xfrm>
          <a:prstGeom prst="rect">
            <a:avLst/>
          </a:prstGeom>
          <a:noFill/>
          <a:ln w="9525">
            <a:solidFill>
              <a:schemeClr val="tx1">
                <a:lumMod val="50000"/>
                <a:lumOff val="50000"/>
              </a:schemeClr>
            </a:solidFill>
          </a:ln>
        </p:spPr>
      </p:pic>
      <p:pic>
        <p:nvPicPr>
          <p:cNvPr id="308" name="Google Shape;308;p8" descr="施設コードを入力画面で「クロン施設コード」を入力し「医療機関を検索」をタップしている画像"/>
          <p:cNvPicPr preferRelativeResize="0">
            <a:picLocks noChangeAspect="1"/>
          </p:cNvPicPr>
          <p:nvPr/>
        </p:nvPicPr>
        <p:blipFill rotWithShape="1">
          <a:blip r:embed="rId4">
            <a:alphaModFix/>
          </a:blip>
          <a:srcRect l="3200" r="-3200"/>
          <a:stretch/>
        </p:blipFill>
        <p:spPr>
          <a:xfrm>
            <a:off x="4764237" y="1996695"/>
            <a:ext cx="1620000" cy="3507867"/>
          </a:xfrm>
          <a:prstGeom prst="rect">
            <a:avLst/>
          </a:prstGeom>
          <a:noFill/>
          <a:ln w="9525">
            <a:solidFill>
              <a:schemeClr val="tx1">
                <a:lumMod val="50000"/>
                <a:lumOff val="50000"/>
              </a:schemeClr>
            </a:solidFill>
          </a:ln>
        </p:spPr>
      </p:pic>
      <p:pic>
        <p:nvPicPr>
          <p:cNvPr id="313" name="Google Shape;313;p8" descr="検索結果の医療機関が表示された画面の画像"/>
          <p:cNvPicPr preferRelativeResize="0">
            <a:picLocks noChangeAspect="1"/>
          </p:cNvPicPr>
          <p:nvPr/>
        </p:nvPicPr>
        <p:blipFill>
          <a:blip r:embed="rId5">
            <a:alphaModFix/>
          </a:blip>
          <a:stretch>
            <a:fillRect/>
          </a:stretch>
        </p:blipFill>
        <p:spPr>
          <a:xfrm>
            <a:off x="6918759" y="1993200"/>
            <a:ext cx="1626011" cy="3510000"/>
          </a:xfrm>
          <a:prstGeom prst="rect">
            <a:avLst/>
          </a:prstGeom>
          <a:noFill/>
          <a:ln w="9525">
            <a:solidFill>
              <a:schemeClr val="tx1">
                <a:lumMod val="50000"/>
                <a:lumOff val="50000"/>
              </a:schemeClr>
            </a:solidFill>
          </a:ln>
        </p:spPr>
      </p:pic>
      <p:sp>
        <p:nvSpPr>
          <p:cNvPr id="315" name="Google Shape;315;p8"/>
          <p:cNvSpPr/>
          <p:nvPr/>
        </p:nvSpPr>
        <p:spPr>
          <a:xfrm>
            <a:off x="2637186" y="3782271"/>
            <a:ext cx="1548000" cy="43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16" name="Google Shape;316;p8"/>
          <p:cNvSpPr/>
          <p:nvPr/>
        </p:nvSpPr>
        <p:spPr>
          <a:xfrm>
            <a:off x="4801006" y="3360623"/>
            <a:ext cx="1548000" cy="36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17" name="Google Shape;317;p8"/>
          <p:cNvSpPr/>
          <p:nvPr/>
        </p:nvSpPr>
        <p:spPr>
          <a:xfrm>
            <a:off x="4791730" y="4199284"/>
            <a:ext cx="1548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7"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5</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受診したい医療機関を検</a:t>
            </a:r>
            <a:r>
              <a:rPr lang="ja-JP" altLang="ja-JP" sz="3200" spc="-1250" dirty="0">
                <a:latin typeface="Meiryo"/>
                <a:ea typeface="Meiryo"/>
                <a:cs typeface="Meiryo"/>
                <a:sym typeface="Meiryo"/>
              </a:rPr>
              <a:t>索</a:t>
            </a:r>
            <a:r>
              <a:rPr lang="ja-JP" altLang="en-US" sz="3200" b="0" dirty="0">
                <a:sym typeface="Meiryo"/>
              </a:rPr>
              <a:t>［</a:t>
            </a:r>
            <a:r>
              <a:rPr lang="en-US" altLang="ja-JP" sz="3200" dirty="0">
                <a:latin typeface="Meiryo"/>
                <a:ea typeface="Meiryo"/>
                <a:cs typeface="Meiryo"/>
                <a:sym typeface="Meiryo"/>
              </a:rPr>
              <a:t>1</a:t>
            </a:r>
            <a:r>
              <a:rPr lang="ja-JP" altLang="en-US" sz="3200" b="0" dirty="0">
                <a:sym typeface="Meiryo"/>
              </a:rPr>
              <a:t>］</a:t>
            </a:r>
            <a:endParaRPr kumimoji="0" lang="ja-JP" altLang="en-US" sz="3200" b="0" kern="0" dirty="0"/>
          </a:p>
        </p:txBody>
      </p:sp>
      <p:grpSp>
        <p:nvGrpSpPr>
          <p:cNvPr id="28" name="図形グループ 27"/>
          <p:cNvGrpSpPr>
            <a:grpSpLocks noChangeAspect="1"/>
          </p:cNvGrpSpPr>
          <p:nvPr/>
        </p:nvGrpSpPr>
        <p:grpSpPr>
          <a:xfrm>
            <a:off x="4310195" y="3304349"/>
            <a:ext cx="360000" cy="270000"/>
            <a:chOff x="3355262" y="5469690"/>
            <a:chExt cx="720000" cy="540000"/>
          </a:xfrm>
        </p:grpSpPr>
        <p:cxnSp>
          <p:nvCxnSpPr>
            <p:cNvPr id="29" name="カギ線コネクタ 2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1" name="図形グループ 30"/>
          <p:cNvGrpSpPr>
            <a:grpSpLocks noChangeAspect="1"/>
          </p:cNvGrpSpPr>
          <p:nvPr/>
        </p:nvGrpSpPr>
        <p:grpSpPr>
          <a:xfrm>
            <a:off x="6476038" y="3304349"/>
            <a:ext cx="360000" cy="270000"/>
            <a:chOff x="3355262" y="5469690"/>
            <a:chExt cx="720000" cy="540000"/>
          </a:xfrm>
        </p:grpSpPr>
        <p:cxnSp>
          <p:nvCxnSpPr>
            <p:cNvPr id="32" name="カギ線コネクタ 31"/>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4" name="図形グループ 33"/>
          <p:cNvGrpSpPr/>
          <p:nvPr/>
        </p:nvGrpSpPr>
        <p:grpSpPr>
          <a:xfrm>
            <a:off x="6765329" y="1846853"/>
            <a:ext cx="296586" cy="293005"/>
            <a:chOff x="5101121" y="3995693"/>
            <a:chExt cx="296586" cy="293005"/>
          </a:xfrm>
        </p:grpSpPr>
        <p:sp>
          <p:nvSpPr>
            <p:cNvPr id="35" name="円/楕円 3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フリーフォーム 3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7" name="図形グループ 36"/>
          <p:cNvGrpSpPr/>
          <p:nvPr/>
        </p:nvGrpSpPr>
        <p:grpSpPr>
          <a:xfrm>
            <a:off x="4653065" y="4059701"/>
            <a:ext cx="296586" cy="293005"/>
            <a:chOff x="4232441" y="3995693"/>
            <a:chExt cx="296586" cy="293005"/>
          </a:xfrm>
        </p:grpSpPr>
        <p:sp>
          <p:nvSpPr>
            <p:cNvPr id="38" name="円/楕円 37"/>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0" name="図形グループ 39"/>
          <p:cNvGrpSpPr/>
          <p:nvPr/>
        </p:nvGrpSpPr>
        <p:grpSpPr>
          <a:xfrm>
            <a:off x="4662209" y="3584213"/>
            <a:ext cx="296586" cy="293005"/>
            <a:chOff x="3546641" y="3995693"/>
            <a:chExt cx="296586" cy="293005"/>
          </a:xfrm>
        </p:grpSpPr>
        <p:sp>
          <p:nvSpPr>
            <p:cNvPr id="41" name="円/楕円 40"/>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3" name="図形グループ 42"/>
          <p:cNvGrpSpPr/>
          <p:nvPr/>
        </p:nvGrpSpPr>
        <p:grpSpPr>
          <a:xfrm>
            <a:off x="2485937" y="3639077"/>
            <a:ext cx="296587" cy="293005"/>
            <a:chOff x="2897417" y="3995693"/>
            <a:chExt cx="296587" cy="293005"/>
          </a:xfrm>
        </p:grpSpPr>
        <p:sp>
          <p:nvSpPr>
            <p:cNvPr id="44" name="円/楕円 4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テキスト ボックス 4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26"/>
        <p:cNvGrpSpPr/>
        <p:nvPr/>
      </p:nvGrpSpPr>
      <p:grpSpPr>
        <a:xfrm>
          <a:off x="0" y="0"/>
          <a:ext cx="0" cy="0"/>
          <a:chOff x="0" y="0"/>
          <a:chExt cx="0" cy="0"/>
        </a:xfrm>
      </p:grpSpPr>
      <p:sp>
        <p:nvSpPr>
          <p:cNvPr id="328" name="Google Shape;328;p9"/>
          <p:cNvSpPr txBox="1"/>
          <p:nvPr/>
        </p:nvSpPr>
        <p:spPr>
          <a:xfrm>
            <a:off x="321468" y="1900768"/>
            <a:ext cx="2340000" cy="1502319"/>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❶</a:t>
            </a:r>
            <a:r>
              <a:rPr lang="en-US" altLang="ja-JP" sz="2400" b="1" i="0" u="none" strike="noStrike" cap="none"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ホーム</a:t>
            </a:r>
            <a:r>
              <a:rPr lang="ja-JP" sz="1800" b="1">
                <a:solidFill>
                  <a:schemeClr val="dk1"/>
                </a:solidFill>
                <a:latin typeface="Meiryo"/>
                <a:ea typeface="Meiryo"/>
                <a:cs typeface="Meiryo"/>
                <a:sym typeface="Meiryo"/>
              </a:rPr>
              <a:t>画面から</a:t>
            </a:r>
            <a:endParaRPr lang="en-US" altLang="ja-JP" sz="1800" b="1">
              <a:solidFill>
                <a:schemeClr val="dk1"/>
              </a:solidFill>
              <a:latin typeface="Meiryo"/>
              <a:ea typeface="Meiryo"/>
              <a:cs typeface="Meiryo"/>
              <a:sym typeface="Meiryo"/>
            </a:endParaRPr>
          </a:p>
          <a:p>
            <a:pPr marL="9525" marR="0" lvl="0" algn="l" rtl="0">
              <a:spcBef>
                <a:spcPts val="0"/>
              </a:spcBef>
              <a:spcAft>
                <a:spcPts val="0"/>
              </a:spcAft>
              <a:buClr>
                <a:srgbClr val="000000"/>
              </a:buClr>
              <a:buSzPts val="2400"/>
              <a:buFont typeface="Arial"/>
              <a:buNone/>
              <a:tabLst>
                <a:tab pos="355600" algn="l"/>
              </a:tabLst>
            </a:pPr>
            <a:r>
              <a:rPr lang="en-US" altLang="ja-JP" sz="1800" b="1">
                <a:solidFill>
                  <a:schemeClr val="dk1"/>
                </a:solidFill>
                <a:latin typeface="Meiryo"/>
                <a:ea typeface="Meiryo"/>
                <a:cs typeface="Meiryo"/>
                <a:sym typeface="Meiryo"/>
              </a:rPr>
              <a:t>	｢</a:t>
            </a:r>
            <a:r>
              <a:rPr lang="ja-JP" sz="1800" b="1">
                <a:solidFill>
                  <a:schemeClr val="dk1"/>
                </a:solidFill>
                <a:latin typeface="Meiryo"/>
                <a:ea typeface="Meiryo"/>
                <a:cs typeface="Meiryo"/>
                <a:sym typeface="Meiryo"/>
              </a:rPr>
              <a:t>医療</a:t>
            </a:r>
            <a:r>
              <a:rPr lang="ja-JP" sz="1800" b="1" dirty="0">
                <a:solidFill>
                  <a:schemeClr val="dk1"/>
                </a:solidFill>
                <a:latin typeface="Meiryo"/>
                <a:ea typeface="Meiryo"/>
                <a:cs typeface="Meiryo"/>
                <a:sym typeface="Meiryo"/>
              </a:rPr>
              <a:t>機関を探して</a:t>
            </a:r>
            <a:endParaRPr lang="en-US" altLang="ja-JP" sz="1800" b="1" dirty="0">
              <a:solidFill>
                <a:schemeClr val="dk1"/>
              </a:solidFill>
              <a:latin typeface="Meiryo"/>
              <a:ea typeface="Meiryo"/>
              <a:cs typeface="Meiryo"/>
              <a:sym typeface="Meiryo"/>
            </a:endParaRPr>
          </a:p>
          <a:p>
            <a:pPr marL="9525" marR="0"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予約する場合</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a:t>
            </a:r>
            <a:endParaRPr lang="en-US" altLang="ja-JP" sz="1800" b="1" dirty="0">
              <a:solidFill>
                <a:schemeClr val="dk1"/>
              </a:solidFill>
              <a:latin typeface="Meiryo"/>
              <a:ea typeface="Meiryo"/>
              <a:cs typeface="Meiryo"/>
              <a:sym typeface="Meiryo"/>
            </a:endParaRPr>
          </a:p>
          <a:p>
            <a:pPr marL="9525" marR="0"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タップ</a:t>
            </a:r>
            <a:r>
              <a:rPr lang="ja-JP" sz="1800" b="1" i="0" u="none" strike="noStrike" cap="none" dirty="0">
                <a:solidFill>
                  <a:srgbClr val="009650"/>
                </a:solidFill>
                <a:latin typeface="Meiryo"/>
                <a:ea typeface="Meiryo"/>
                <a:cs typeface="Meiryo"/>
                <a:sym typeface="Meiryo"/>
              </a:rPr>
              <a:t>	</a:t>
            </a:r>
            <a:endParaRPr sz="1800" b="1" i="0" u="none" strike="noStrike" cap="none" dirty="0">
              <a:solidFill>
                <a:schemeClr val="dk1"/>
              </a:solidFill>
              <a:latin typeface="Meiryo"/>
              <a:ea typeface="Meiryo"/>
              <a:cs typeface="Meiryo"/>
              <a:sym typeface="Meiryo"/>
            </a:endParaRPr>
          </a:p>
          <a:p>
            <a:pPr marL="9525" marR="4344" lvl="0" algn="l" rtl="0">
              <a:spcBef>
                <a:spcPts val="85"/>
              </a:spcBef>
              <a:spcAft>
                <a:spcPts val="0"/>
              </a:spcAft>
              <a:buNone/>
              <a:tabLst>
                <a:tab pos="355600" algn="l"/>
              </a:tabLst>
            </a:pPr>
            <a:endParaRPr sz="1800" b="1" i="0" u="none" strike="noStrike" cap="none" dirty="0">
              <a:solidFill>
                <a:schemeClr val="dk1"/>
              </a:solidFill>
              <a:latin typeface="Meiryo"/>
              <a:ea typeface="Meiryo"/>
              <a:cs typeface="Meiryo"/>
              <a:sym typeface="Meiryo"/>
            </a:endParaRPr>
          </a:p>
        </p:txBody>
      </p:sp>
      <p:sp>
        <p:nvSpPr>
          <p:cNvPr id="329" name="Google Shape;329;p9"/>
          <p:cNvSpPr txBox="1"/>
          <p:nvPr/>
        </p:nvSpPr>
        <p:spPr>
          <a:xfrm>
            <a:off x="513066" y="1353983"/>
            <a:ext cx="4041900" cy="461635"/>
          </a:xfrm>
          <a:prstGeom prst="rect">
            <a:avLst/>
          </a:prstGeom>
          <a:noFill/>
          <a:ln>
            <a:noFill/>
          </a:ln>
        </p:spPr>
        <p:txBody>
          <a:bodyPr spcFirstLastPara="1" wrap="square" lIns="91425" tIns="91425" rIns="91425" bIns="91425" anchor="t" anchorCtr="0">
            <a:spAutoFit/>
          </a:bodyPr>
          <a:lstStyle/>
          <a:p>
            <a:pPr marL="0" marR="0" lvl="0" indent="0" algn="l" rtl="0">
              <a:spcBef>
                <a:spcPts val="0"/>
              </a:spcBef>
              <a:spcAft>
                <a:spcPts val="0"/>
              </a:spcAft>
              <a:buClr>
                <a:schemeClr val="dk1"/>
              </a:buClr>
              <a:buSzPts val="1800"/>
              <a:buFont typeface="Meiryo"/>
              <a:buNone/>
            </a:pPr>
            <a:r>
              <a:rPr lang="ja-JP" sz="1800" b="1">
                <a:solidFill>
                  <a:srgbClr val="009650"/>
                </a:solidFill>
                <a:latin typeface="Meiryo"/>
                <a:ea typeface="Meiryo"/>
                <a:cs typeface="Meiryo"/>
                <a:sym typeface="Meiryo"/>
              </a:rPr>
              <a:t>医療機関を探して予約する場合</a:t>
            </a:r>
            <a:endParaRPr sz="1800" b="1" i="0" u="none" strike="noStrike" cap="none">
              <a:solidFill>
                <a:srgbClr val="009650"/>
              </a:solidFill>
              <a:latin typeface="Meiryo"/>
              <a:ea typeface="Meiryo"/>
              <a:cs typeface="Meiryo"/>
              <a:sym typeface="Meiryo"/>
            </a:endParaRPr>
          </a:p>
        </p:txBody>
      </p:sp>
      <p:sp>
        <p:nvSpPr>
          <p:cNvPr id="330" name="Google Shape;330;p9"/>
          <p:cNvSpPr txBox="1"/>
          <p:nvPr/>
        </p:nvSpPr>
        <p:spPr>
          <a:xfrm>
            <a:off x="10002982" y="4835236"/>
            <a:ext cx="184731"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endParaRPr sz="1632">
              <a:solidFill>
                <a:schemeClr val="dk1"/>
              </a:solidFill>
              <a:latin typeface="Calibri"/>
              <a:ea typeface="Calibri"/>
              <a:cs typeface="Calibri"/>
              <a:sym typeface="Calibri"/>
            </a:endParaRPr>
          </a:p>
        </p:txBody>
      </p:sp>
      <p:pic>
        <p:nvPicPr>
          <p:cNvPr id="332" name="Google Shape;332;p9" descr="クロンホーム画面で「医療機関を探して予約する場合」をタップしている画像"/>
          <p:cNvPicPr preferRelativeResize="0">
            <a:picLocks noChangeAspect="1"/>
          </p:cNvPicPr>
          <p:nvPr/>
        </p:nvPicPr>
        <p:blipFill>
          <a:blip r:embed="rId3">
            <a:alphaModFix/>
          </a:blip>
          <a:stretch>
            <a:fillRect/>
          </a:stretch>
        </p:blipFill>
        <p:spPr>
          <a:xfrm>
            <a:off x="4581146" y="1453890"/>
            <a:ext cx="2161296" cy="4680000"/>
          </a:xfrm>
          <a:prstGeom prst="rect">
            <a:avLst/>
          </a:prstGeom>
          <a:noFill/>
          <a:ln w="9525">
            <a:solidFill>
              <a:schemeClr val="tx1">
                <a:lumMod val="50000"/>
                <a:lumOff val="50000"/>
              </a:schemeClr>
            </a:solidFill>
          </a:ln>
        </p:spPr>
      </p:pic>
      <p:pic>
        <p:nvPicPr>
          <p:cNvPr id="337" name="Google Shape;337;p9"/>
          <p:cNvPicPr preferRelativeResize="0"/>
          <p:nvPr/>
        </p:nvPicPr>
        <p:blipFill>
          <a:blip r:embed="rId4">
            <a:alphaModFix/>
          </a:blip>
          <a:stretch>
            <a:fillRect/>
          </a:stretch>
        </p:blipFill>
        <p:spPr>
          <a:xfrm>
            <a:off x="152400" y="4889550"/>
            <a:ext cx="9525" cy="9525"/>
          </a:xfrm>
          <a:prstGeom prst="rect">
            <a:avLst/>
          </a:prstGeom>
          <a:noFill/>
          <a:ln>
            <a:noFill/>
          </a:ln>
        </p:spPr>
      </p:pic>
      <p:pic>
        <p:nvPicPr>
          <p:cNvPr id="338" name="Google Shape;338;p9"/>
          <p:cNvPicPr preferRelativeResize="0"/>
          <p:nvPr/>
        </p:nvPicPr>
        <p:blipFill>
          <a:blip r:embed="rId4">
            <a:alphaModFix/>
          </a:blip>
          <a:stretch>
            <a:fillRect/>
          </a:stretch>
        </p:blipFill>
        <p:spPr>
          <a:xfrm>
            <a:off x="314325" y="4889550"/>
            <a:ext cx="9525" cy="9525"/>
          </a:xfrm>
          <a:prstGeom prst="rect">
            <a:avLst/>
          </a:prstGeom>
          <a:noFill/>
          <a:ln>
            <a:noFill/>
          </a:ln>
        </p:spPr>
      </p:pic>
      <p:pic>
        <p:nvPicPr>
          <p:cNvPr id="339" name="Google Shape;339;p9"/>
          <p:cNvPicPr preferRelativeResize="0"/>
          <p:nvPr/>
        </p:nvPicPr>
        <p:blipFill>
          <a:blip r:embed="rId4">
            <a:alphaModFix/>
          </a:blip>
          <a:stretch>
            <a:fillRect/>
          </a:stretch>
        </p:blipFill>
        <p:spPr>
          <a:xfrm>
            <a:off x="152400" y="5051475"/>
            <a:ext cx="9525" cy="9525"/>
          </a:xfrm>
          <a:prstGeom prst="rect">
            <a:avLst/>
          </a:prstGeom>
          <a:noFill/>
          <a:ln>
            <a:noFill/>
          </a:ln>
        </p:spPr>
      </p:pic>
      <p:sp>
        <p:nvSpPr>
          <p:cNvPr id="340" name="Google Shape;340;p9"/>
          <p:cNvSpPr/>
          <p:nvPr/>
        </p:nvSpPr>
        <p:spPr>
          <a:xfrm>
            <a:off x="4739866" y="4379622"/>
            <a:ext cx="1836000" cy="57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1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19"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5</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受診したい医療機関を検</a:t>
            </a:r>
            <a:r>
              <a:rPr lang="ja-JP" altLang="ja-JP" sz="3200" spc="-1250" dirty="0">
                <a:latin typeface="Meiryo"/>
                <a:ea typeface="Meiryo"/>
                <a:cs typeface="Meiryo"/>
                <a:sym typeface="Meiryo"/>
              </a:rPr>
              <a:t>索</a:t>
            </a:r>
            <a:r>
              <a:rPr lang="ja-JP" altLang="en-US" sz="3200" b="0" dirty="0">
                <a:sym typeface="Meiryo"/>
              </a:rPr>
              <a:t>［</a:t>
            </a:r>
            <a:r>
              <a:rPr lang="en-US" altLang="ja-JP" sz="3200" dirty="0">
                <a:latin typeface="Meiryo"/>
                <a:ea typeface="Meiryo"/>
                <a:cs typeface="Meiryo"/>
                <a:sym typeface="Meiryo"/>
              </a:rPr>
              <a:t>2</a:t>
            </a:r>
            <a:r>
              <a:rPr lang="ja-JP" altLang="en-US" sz="3200" b="0" dirty="0">
                <a:sym typeface="Meiryo"/>
              </a:rPr>
              <a:t>］</a:t>
            </a:r>
            <a:endParaRPr kumimoji="0" lang="ja-JP" altLang="en-US" sz="3200" b="0" kern="0" dirty="0"/>
          </a:p>
        </p:txBody>
      </p:sp>
      <p:grpSp>
        <p:nvGrpSpPr>
          <p:cNvPr id="21" name="図形グループ 20"/>
          <p:cNvGrpSpPr/>
          <p:nvPr/>
        </p:nvGrpSpPr>
        <p:grpSpPr>
          <a:xfrm>
            <a:off x="4589057" y="4242581"/>
            <a:ext cx="296587" cy="293005"/>
            <a:chOff x="2897417" y="3995693"/>
            <a:chExt cx="296587" cy="293005"/>
          </a:xfrm>
        </p:grpSpPr>
        <p:sp>
          <p:nvSpPr>
            <p:cNvPr id="22" name="円/楕円 2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4" name="図形グループ 23"/>
          <p:cNvGrpSpPr>
            <a:grpSpLocks noChangeAspect="1"/>
          </p:cNvGrpSpPr>
          <p:nvPr/>
        </p:nvGrpSpPr>
        <p:grpSpPr>
          <a:xfrm>
            <a:off x="7098387" y="3167090"/>
            <a:ext cx="720000" cy="540000"/>
            <a:chOff x="3355262" y="5469690"/>
            <a:chExt cx="720000" cy="540000"/>
          </a:xfrm>
        </p:grpSpPr>
        <p:cxnSp>
          <p:nvCxnSpPr>
            <p:cNvPr id="25" name="カギ線コネクタ 24"/>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46"/>
        <p:cNvGrpSpPr/>
        <p:nvPr/>
      </p:nvGrpSpPr>
      <p:grpSpPr>
        <a:xfrm>
          <a:off x="0" y="0"/>
          <a:ext cx="0" cy="0"/>
          <a:chOff x="0" y="0"/>
          <a:chExt cx="0" cy="0"/>
        </a:xfrm>
      </p:grpSpPr>
      <p:pic>
        <p:nvPicPr>
          <p:cNvPr id="3" name="図 2" descr="位置情報の許可表示で、「一度だけ許可」、「Appの使用中は許可」のいずれかをタップしている画像"/>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94081" y="1999641"/>
            <a:ext cx="1620000" cy="3526571"/>
          </a:xfrm>
          <a:prstGeom prst="rect">
            <a:avLst/>
          </a:prstGeom>
        </p:spPr>
      </p:pic>
      <p:graphicFrame>
        <p:nvGraphicFramePr>
          <p:cNvPr id="2" name="オブジェクト 1" hidden="1">
            <a:extLst>
              <a:ext uri="{FF2B5EF4-FFF2-40B4-BE49-F238E27FC236}">
                <a16:creationId xmlns:a16="http://schemas.microsoft.com/office/drawing/2014/main" id="{60E34444-93B3-4B19-9C7F-6F8A1D4AFC4B}"/>
              </a:ext>
            </a:extLst>
          </p:cNvPr>
          <p:cNvGraphicFramePr>
            <a:graphicFrameLocks noChangeAspect="1"/>
          </p:cNvGraphicFramePr>
          <p:nvPr>
            <p:custDataLst>
              <p:tags r:id="rId2"/>
            </p:custDataLst>
            <p:extLst>
              <p:ext uri="{D42A27DB-BD31-4B8C-83A1-F6EECF244321}">
                <p14:modId xmlns:p14="http://schemas.microsoft.com/office/powerpoint/2010/main" val="2015530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42" name="think-cell スライド" r:id="rId6" imgW="353" imgH="353" progId="TCLayout.ActiveDocument.1">
                  <p:embed/>
                </p:oleObj>
              </mc:Choice>
              <mc:Fallback>
                <p:oleObj name="think-cell スライド" r:id="rId6" imgW="353" imgH="35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48" name="Google Shape;348;g1424c8524af_1_57"/>
          <p:cNvSpPr txBox="1"/>
          <p:nvPr/>
        </p:nvSpPr>
        <p:spPr>
          <a:xfrm>
            <a:off x="323764" y="1907180"/>
            <a:ext cx="2520000" cy="4167151"/>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None/>
              <a:tabLst>
                <a:tab pos="355600" algn="l"/>
              </a:tabLst>
            </a:pPr>
            <a:r>
              <a:rPr lang="ja-JP" sz="2400" b="1" dirty="0">
                <a:solidFill>
                  <a:srgbClr val="009650"/>
                </a:solidFill>
                <a:latin typeface="Meiryo"/>
                <a:ea typeface="Meiryo"/>
                <a:cs typeface="Meiryo"/>
                <a:sym typeface="Meiryo"/>
              </a:rPr>
              <a:t>❷</a:t>
            </a:r>
            <a:r>
              <a:rPr lang="en-US" altLang="ja-JP" sz="2400" b="1"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位置情報</a:t>
            </a:r>
            <a:r>
              <a:rPr lang="ja-JP" altLang="en-US" sz="1800" b="1" dirty="0">
                <a:solidFill>
                  <a:schemeClr val="tx1"/>
                </a:solidFill>
                <a:latin typeface="Meiryo"/>
                <a:ea typeface="Meiryo"/>
                <a:cs typeface="Meiryo"/>
                <a:sym typeface="Meiryo"/>
              </a:rPr>
              <a:t>の使用</a:t>
            </a:r>
            <a:endParaRPr lang="en-US" altLang="ja-JP" sz="1800" b="1" dirty="0">
              <a:solidFill>
                <a:schemeClr val="tx1"/>
              </a:solidFill>
              <a:latin typeface="Meiryo"/>
              <a:ea typeface="Meiryo"/>
              <a:cs typeface="Meiryo"/>
              <a:sym typeface="Meiryo"/>
            </a:endParaRPr>
          </a:p>
          <a:p>
            <a:pPr marL="9525" marR="0" lvl="0" algn="l" rtl="0">
              <a:spcBef>
                <a:spcPts val="0"/>
              </a:spcBef>
              <a:spcAft>
                <a:spcPts val="0"/>
              </a:spcAft>
              <a:buNone/>
              <a:tabLst>
                <a:tab pos="355600" algn="l"/>
              </a:tabLst>
            </a:pPr>
            <a:r>
              <a:rPr lang="en-US" altLang="ja-JP" sz="1800" b="1" dirty="0">
                <a:solidFill>
                  <a:schemeClr val="tx1"/>
                </a:solidFill>
                <a:latin typeface="Meiryo"/>
                <a:ea typeface="Meiryo"/>
                <a:cs typeface="Meiryo"/>
                <a:sym typeface="Meiryo"/>
              </a:rPr>
              <a:t>	</a:t>
            </a:r>
            <a:r>
              <a:rPr lang="ja-JP" sz="1800" b="1" dirty="0">
                <a:solidFill>
                  <a:schemeClr val="dk1"/>
                </a:solidFill>
                <a:latin typeface="Meiryo"/>
                <a:ea typeface="Meiryo"/>
                <a:cs typeface="Meiryo"/>
                <a:sym typeface="Meiryo"/>
              </a:rPr>
              <a:t>への許可表示</a:t>
            </a:r>
            <a:r>
              <a:rPr lang="ja-JP" altLang="en-US" sz="1800" b="1" dirty="0">
                <a:solidFill>
                  <a:schemeClr val="dk1"/>
                </a:solidFill>
                <a:latin typeface="Meiryo"/>
                <a:ea typeface="Meiryo"/>
                <a:cs typeface="Meiryo"/>
                <a:sym typeface="Meiryo"/>
              </a:rPr>
              <a:t>で</a:t>
            </a:r>
            <a:r>
              <a:rPr lang="ja-JP" sz="1800" b="1" dirty="0">
                <a:solidFill>
                  <a:schemeClr val="dk1"/>
                </a:solidFill>
                <a:latin typeface="Meiryo"/>
                <a:ea typeface="Meiryo"/>
                <a:cs typeface="Meiryo"/>
                <a:sym typeface="Meiryo"/>
              </a:rPr>
              <a:t>、</a:t>
            </a:r>
            <a:endParaRPr sz="1800" b="1" dirty="0">
              <a:solidFill>
                <a:schemeClr val="dk1"/>
              </a:solidFill>
              <a:latin typeface="Meiryo"/>
              <a:ea typeface="Meiryo"/>
              <a:cs typeface="Meiryo"/>
              <a:sym typeface="Meiryo"/>
            </a:endParaRPr>
          </a:p>
          <a:p>
            <a:pPr marL="9525" marR="0" lvl="0" algn="l" rtl="0">
              <a:spcBef>
                <a:spcPts val="0"/>
              </a:spcBef>
              <a:spcAft>
                <a:spcPts val="0"/>
              </a:spcAft>
              <a:buNone/>
              <a:tabLst>
                <a:tab pos="355600" algn="l"/>
              </a:tabLst>
            </a:pPr>
            <a:r>
              <a:rPr lang="en-US" altLang="ja-JP" sz="1800" b="1">
                <a:solidFill>
                  <a:schemeClr val="dk1"/>
                </a:solidFill>
                <a:latin typeface="Meiryo"/>
                <a:ea typeface="Meiryo"/>
                <a:cs typeface="Meiryo"/>
                <a:sym typeface="Meiryo"/>
              </a:rPr>
              <a:t>	｢</a:t>
            </a:r>
            <a:r>
              <a:rPr lang="ja-JP" sz="1800" b="1">
                <a:solidFill>
                  <a:schemeClr val="dk1"/>
                </a:solidFill>
                <a:latin typeface="Meiryo"/>
                <a:ea typeface="Meiryo"/>
                <a:cs typeface="Meiryo"/>
                <a:sym typeface="Meiryo"/>
              </a:rPr>
              <a:t>一度</a:t>
            </a:r>
            <a:r>
              <a:rPr lang="ja-JP" sz="1800" b="1" dirty="0">
                <a:solidFill>
                  <a:schemeClr val="dk1"/>
                </a:solidFill>
                <a:latin typeface="Meiryo"/>
                <a:ea typeface="Meiryo"/>
                <a:cs typeface="Meiryo"/>
                <a:sym typeface="Meiryo"/>
              </a:rPr>
              <a:t>だけ許可</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a:t>
            </a:r>
            <a:r>
              <a:rPr lang="en-US" altLang="ja-JP" sz="1800" b="1">
                <a:solidFill>
                  <a:schemeClr val="dk1"/>
                </a:solidFill>
                <a:latin typeface="Meiryo"/>
                <a:ea typeface="Meiryo"/>
                <a:cs typeface="Meiryo"/>
                <a:sym typeface="Meiryo"/>
              </a:rPr>
              <a:t>	｢</a:t>
            </a:r>
            <a:r>
              <a:rPr lang="ja-JP" sz="1800" b="1">
                <a:solidFill>
                  <a:schemeClr val="dk1"/>
                </a:solidFill>
                <a:latin typeface="Meiryo"/>
                <a:ea typeface="Meiryo"/>
                <a:cs typeface="Meiryo"/>
                <a:sym typeface="Meiryo"/>
              </a:rPr>
              <a:t>App</a:t>
            </a:r>
            <a:r>
              <a:rPr lang="ja-JP" sz="1800" b="1" dirty="0">
                <a:solidFill>
                  <a:schemeClr val="dk1"/>
                </a:solidFill>
                <a:latin typeface="Meiryo"/>
                <a:ea typeface="Meiryo"/>
                <a:cs typeface="Meiryo"/>
                <a:sym typeface="Meiryo"/>
              </a:rPr>
              <a:t>の使用中は</a:t>
            </a:r>
            <a:endParaRPr lang="en-US" altLang="ja-JP" sz="1800" b="1" dirty="0">
              <a:solidFill>
                <a:schemeClr val="dk1"/>
              </a:solidFill>
              <a:latin typeface="Meiryo"/>
              <a:ea typeface="Meiryo"/>
              <a:cs typeface="Meiryo"/>
              <a:sym typeface="Meiryo"/>
            </a:endParaRPr>
          </a:p>
          <a:p>
            <a:pPr marL="9525" marR="0" lvl="0" algn="l" rtl="0">
              <a:spcBef>
                <a:spcPts val="0"/>
              </a:spcBef>
              <a:spcAft>
                <a:spcPts val="0"/>
              </a:spcAft>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許可</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のいずれか</a:t>
            </a:r>
            <a:endParaRPr lang="en-US" altLang="ja-JP" sz="1800" b="1" dirty="0">
              <a:solidFill>
                <a:schemeClr val="dk1"/>
              </a:solidFill>
              <a:latin typeface="Meiryo"/>
              <a:ea typeface="Meiryo"/>
              <a:cs typeface="Meiryo"/>
              <a:sym typeface="Meiryo"/>
            </a:endParaRPr>
          </a:p>
          <a:p>
            <a:pPr marL="9525" marR="0" lvl="0" algn="l" rtl="0">
              <a:spcBef>
                <a:spcPts val="0"/>
              </a:spcBef>
              <a:spcAft>
                <a:spcPts val="0"/>
              </a:spcAft>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を選択し、タップ</a:t>
            </a:r>
            <a:endParaRPr sz="1800" b="1" dirty="0">
              <a:solidFill>
                <a:schemeClr val="dk1"/>
              </a:solidFill>
              <a:latin typeface="Meiryo"/>
              <a:ea typeface="Meiryo"/>
              <a:cs typeface="Meiryo"/>
              <a:sym typeface="Meiryo"/>
            </a:endParaRPr>
          </a:p>
          <a:p>
            <a:pPr marL="9525" lvl="0" algn="l" rtl="0">
              <a:spcBef>
                <a:spcPts val="0"/>
              </a:spcBef>
              <a:spcAft>
                <a:spcPts val="0"/>
              </a:spcAft>
              <a:buClr>
                <a:schemeClr val="dk1"/>
              </a:buClr>
              <a:buFont typeface="Arial"/>
              <a:buNone/>
              <a:tabLst>
                <a:tab pos="355600" algn="l"/>
              </a:tabLst>
            </a:pPr>
            <a:r>
              <a:rPr lang="ja-JP" sz="2400" b="1">
                <a:solidFill>
                  <a:srgbClr val="009650"/>
                </a:solidFill>
                <a:latin typeface="Meiryo"/>
                <a:ea typeface="Meiryo"/>
                <a:cs typeface="Meiryo"/>
                <a:sym typeface="Meiryo"/>
              </a:rPr>
              <a:t>❸</a:t>
            </a:r>
            <a:r>
              <a:rPr lang="en-US" altLang="ja-JP" sz="2400" b="1">
                <a:solidFill>
                  <a:srgbClr val="009650"/>
                </a:solidFill>
                <a:latin typeface="Meiryo"/>
                <a:ea typeface="Meiryo"/>
                <a:cs typeface="Meiryo"/>
                <a:sym typeface="Meiryo"/>
              </a:rPr>
              <a:t>	</a:t>
            </a:r>
            <a:r>
              <a:rPr lang="en-US" altLang="ja-JP" sz="1800" b="1">
                <a:solidFill>
                  <a:schemeClr val="tx1"/>
                </a:solidFill>
                <a:latin typeface="Meiryo"/>
                <a:ea typeface="Meiryo"/>
                <a:cs typeface="Meiryo"/>
                <a:sym typeface="Meiryo"/>
              </a:rPr>
              <a:t>｢</a:t>
            </a:r>
            <a:r>
              <a:rPr lang="ja-JP" altLang="en-US" sz="1800" b="1">
                <a:solidFill>
                  <a:schemeClr val="tx1"/>
                </a:solidFill>
                <a:latin typeface="Meiryo"/>
                <a:ea typeface="Meiryo"/>
                <a:cs typeface="Meiryo"/>
                <a:sym typeface="Meiryo"/>
              </a:rPr>
              <a:t>初診</a:t>
            </a:r>
            <a:r>
              <a:rPr lang="ja-JP" altLang="en-US" sz="1800" b="1" dirty="0">
                <a:solidFill>
                  <a:schemeClr val="tx1"/>
                </a:solidFill>
                <a:latin typeface="Meiryo"/>
                <a:ea typeface="Meiryo"/>
                <a:cs typeface="Meiryo"/>
                <a:sym typeface="Meiryo"/>
              </a:rPr>
              <a:t>可能</a:t>
            </a:r>
            <a:r>
              <a:rPr lang="en-US" altLang="ja-JP" sz="1800" b="1">
                <a:solidFill>
                  <a:schemeClr val="tx1"/>
                </a:solidFill>
                <a:latin typeface="Meiryo"/>
                <a:ea typeface="Meiryo"/>
                <a:cs typeface="Meiryo"/>
                <a:sym typeface="Meiryo"/>
              </a:rPr>
              <a:t>｣ </a:t>
            </a:r>
          </a:p>
          <a:p>
            <a:pPr marL="9525" lvl="0" algn="l" rtl="0">
              <a:spcBef>
                <a:spcPts val="0"/>
              </a:spcBef>
              <a:spcAft>
                <a:spcPts val="0"/>
              </a:spcAft>
              <a:buClr>
                <a:schemeClr val="dk1"/>
              </a:buClr>
              <a:buFont typeface="Arial"/>
              <a:buNone/>
              <a:tabLst>
                <a:tab pos="355600" algn="l"/>
              </a:tabLst>
            </a:pPr>
            <a:r>
              <a:rPr lang="en-US" altLang="ja-JP" sz="1800" b="1">
                <a:solidFill>
                  <a:schemeClr val="tx1"/>
                </a:solidFill>
                <a:latin typeface="Meiryo"/>
                <a:ea typeface="Meiryo"/>
                <a:cs typeface="Meiryo"/>
                <a:sym typeface="Meiryo"/>
              </a:rPr>
              <a:t>	｢</a:t>
            </a:r>
            <a:r>
              <a:rPr lang="ja-JP" altLang="en-US" sz="1800" b="1">
                <a:solidFill>
                  <a:schemeClr val="tx1"/>
                </a:solidFill>
                <a:latin typeface="Meiryo"/>
                <a:ea typeface="Meiryo"/>
                <a:cs typeface="Meiryo"/>
                <a:sym typeface="Meiryo"/>
              </a:rPr>
              <a:t>本日</a:t>
            </a:r>
            <a:r>
              <a:rPr lang="ja-JP" altLang="en-US" sz="1800" b="1" dirty="0">
                <a:solidFill>
                  <a:schemeClr val="tx1"/>
                </a:solidFill>
                <a:latin typeface="Meiryo"/>
                <a:ea typeface="Meiryo"/>
                <a:cs typeface="Meiryo"/>
                <a:sym typeface="Meiryo"/>
              </a:rPr>
              <a:t>予約可能</a:t>
            </a:r>
            <a:r>
              <a:rPr lang="en-US" altLang="ja-JP" sz="1800" b="1">
                <a:solidFill>
                  <a:schemeClr val="tx1"/>
                </a:solidFill>
                <a:latin typeface="Meiryo"/>
                <a:ea typeface="Meiryo"/>
                <a:cs typeface="Meiryo"/>
                <a:sym typeface="Meiryo"/>
              </a:rPr>
              <a:t>｣ </a:t>
            </a:r>
          </a:p>
          <a:p>
            <a:pPr marL="9525" lvl="0" algn="l" rtl="0">
              <a:spcBef>
                <a:spcPts val="0"/>
              </a:spcBef>
              <a:spcAft>
                <a:spcPts val="0"/>
              </a:spcAft>
              <a:buClr>
                <a:schemeClr val="dk1"/>
              </a:buClr>
              <a:buFont typeface="Arial"/>
              <a:buNone/>
              <a:tabLst>
                <a:tab pos="355600" algn="l"/>
              </a:tabLst>
            </a:pPr>
            <a:r>
              <a:rPr lang="en-US" altLang="ja-JP" sz="1800" b="1">
                <a:solidFill>
                  <a:schemeClr val="tx1"/>
                </a:solidFill>
                <a:latin typeface="Meiryo"/>
                <a:ea typeface="Meiryo"/>
                <a:cs typeface="Meiryo"/>
                <a:sym typeface="Meiryo"/>
              </a:rPr>
              <a:t>	｢</a:t>
            </a:r>
            <a:r>
              <a:rPr lang="ja-JP" altLang="en-US" sz="1800" b="1">
                <a:solidFill>
                  <a:schemeClr val="tx1"/>
                </a:solidFill>
                <a:latin typeface="Meiryo"/>
                <a:ea typeface="Meiryo"/>
                <a:cs typeface="Meiryo"/>
                <a:sym typeface="Meiryo"/>
              </a:rPr>
              <a:t>診療</a:t>
            </a:r>
            <a:r>
              <a:rPr lang="ja-JP" altLang="en-US" sz="1800" b="1" dirty="0">
                <a:solidFill>
                  <a:schemeClr val="tx1"/>
                </a:solidFill>
                <a:latin typeface="Meiryo"/>
                <a:ea typeface="Meiryo"/>
                <a:cs typeface="Meiryo"/>
                <a:sym typeface="Meiryo"/>
              </a:rPr>
              <a:t>コード入力</a:t>
            </a:r>
            <a:r>
              <a:rPr lang="en-US" altLang="ja-JP" sz="1800" b="1" dirty="0">
                <a:solidFill>
                  <a:schemeClr val="tx1"/>
                </a:solidFill>
                <a:latin typeface="Meiryo"/>
                <a:ea typeface="Meiryo"/>
                <a:cs typeface="Meiryo"/>
                <a:sym typeface="Meiryo"/>
              </a:rPr>
              <a:t>｣</a:t>
            </a:r>
          </a:p>
          <a:p>
            <a:pPr marL="9525" lvl="0" algn="l" rtl="0">
              <a:spcBef>
                <a:spcPts val="0"/>
              </a:spcBef>
              <a:spcAft>
                <a:spcPts val="0"/>
              </a:spcAft>
              <a:buClr>
                <a:schemeClr val="dk1"/>
              </a:buClr>
              <a:buFont typeface="Arial"/>
              <a:buNone/>
              <a:tabLst>
                <a:tab pos="355600" algn="l"/>
              </a:tabLst>
            </a:pPr>
            <a:r>
              <a:rPr lang="en-US" altLang="ja-JP" sz="1800" b="1" dirty="0">
                <a:solidFill>
                  <a:schemeClr val="tx1"/>
                </a:solidFill>
                <a:latin typeface="Meiryo"/>
                <a:ea typeface="Meiryo"/>
                <a:cs typeface="Meiryo"/>
                <a:sym typeface="Meiryo"/>
              </a:rPr>
              <a:t>	</a:t>
            </a:r>
            <a:r>
              <a:rPr lang="ja-JP" altLang="en-US" sz="1800" b="1" dirty="0">
                <a:solidFill>
                  <a:schemeClr val="dk1"/>
                </a:solidFill>
                <a:latin typeface="Meiryo"/>
                <a:ea typeface="Meiryo"/>
                <a:cs typeface="Meiryo"/>
                <a:sym typeface="Meiryo"/>
              </a:rPr>
              <a:t>の中から選択し、</a:t>
            </a:r>
            <a:endParaRPr lang="en-US" altLang="ja-JP" sz="1800" b="1" dirty="0">
              <a:solidFill>
                <a:schemeClr val="dk1"/>
              </a:solidFill>
              <a:latin typeface="Meiryo"/>
              <a:ea typeface="Meiryo"/>
              <a:cs typeface="Meiryo"/>
              <a:sym typeface="Meiryo"/>
            </a:endParaRPr>
          </a:p>
          <a:p>
            <a:pPr marL="9525" lvl="0" algn="l" rtl="0">
              <a:spcBef>
                <a:spcPts val="0"/>
              </a:spcBef>
              <a:spcAft>
                <a:spcPts val="0"/>
              </a:spcAft>
              <a:buClr>
                <a:schemeClr val="dk1"/>
              </a:buClr>
              <a:buFont typeface="Arial"/>
              <a:buNone/>
              <a:tabLst>
                <a:tab pos="355600" algn="l"/>
              </a:tabLst>
            </a:pPr>
            <a:r>
              <a:rPr lang="en-US" altLang="ja-JP" sz="1800" b="1" dirty="0">
                <a:solidFill>
                  <a:schemeClr val="dk1"/>
                </a:solidFill>
                <a:latin typeface="Meiryo"/>
                <a:ea typeface="Meiryo"/>
                <a:cs typeface="Meiryo"/>
                <a:sym typeface="Meiryo"/>
              </a:rPr>
              <a:t>	</a:t>
            </a:r>
            <a:r>
              <a:rPr lang="ja-JP" altLang="en-US" sz="1800" b="1" dirty="0">
                <a:solidFill>
                  <a:schemeClr val="dk1"/>
                </a:solidFill>
                <a:latin typeface="Meiryo"/>
                <a:ea typeface="Meiryo"/>
                <a:cs typeface="Meiryo"/>
                <a:sym typeface="Meiryo"/>
              </a:rPr>
              <a:t>医療機関を</a:t>
            </a:r>
            <a:endParaRPr lang="en-US" altLang="ja-JP" sz="1800" b="1" dirty="0">
              <a:solidFill>
                <a:schemeClr val="dk1"/>
              </a:solidFill>
              <a:latin typeface="Meiryo"/>
              <a:ea typeface="Meiryo"/>
              <a:cs typeface="Meiryo"/>
              <a:sym typeface="Meiryo"/>
            </a:endParaRPr>
          </a:p>
          <a:p>
            <a:pPr marL="9525" lvl="0" algn="l" rtl="0">
              <a:spcBef>
                <a:spcPts val="0"/>
              </a:spcBef>
              <a:spcAft>
                <a:spcPts val="0"/>
              </a:spcAft>
              <a:buClr>
                <a:schemeClr val="dk1"/>
              </a:buClr>
              <a:buFont typeface="Arial"/>
              <a:buNone/>
              <a:tabLst>
                <a:tab pos="355600" algn="l"/>
              </a:tabLst>
            </a:pPr>
            <a:r>
              <a:rPr lang="en-US" altLang="ja-JP" sz="1800" b="1" dirty="0">
                <a:solidFill>
                  <a:schemeClr val="dk1"/>
                </a:solidFill>
                <a:latin typeface="Meiryo"/>
                <a:ea typeface="Meiryo"/>
                <a:cs typeface="Meiryo"/>
                <a:sym typeface="Meiryo"/>
              </a:rPr>
              <a:t>	</a:t>
            </a:r>
            <a:r>
              <a:rPr lang="ja-JP" altLang="en-US" sz="1800" b="1" dirty="0">
                <a:solidFill>
                  <a:schemeClr val="tx1"/>
                </a:solidFill>
                <a:latin typeface="Meiryo"/>
                <a:ea typeface="Meiryo"/>
                <a:cs typeface="Meiryo"/>
                <a:sym typeface="Meiryo"/>
              </a:rPr>
              <a:t>絞り</a:t>
            </a:r>
            <a:r>
              <a:rPr lang="ja-JP" altLang="en-US" sz="1800" b="1" dirty="0">
                <a:solidFill>
                  <a:schemeClr val="dk1"/>
                </a:solidFill>
                <a:latin typeface="Meiryo"/>
                <a:ea typeface="Meiryo"/>
                <a:cs typeface="Meiryo"/>
                <a:sym typeface="Meiryo"/>
              </a:rPr>
              <a:t>込む</a:t>
            </a:r>
          </a:p>
          <a:p>
            <a:pPr marL="9525" lvl="0" algn="l" rtl="0">
              <a:spcBef>
                <a:spcPts val="0"/>
              </a:spcBef>
              <a:spcAft>
                <a:spcPts val="0"/>
              </a:spcAft>
              <a:buClr>
                <a:schemeClr val="dk1"/>
              </a:buClr>
              <a:buFont typeface="Arial"/>
              <a:buNone/>
              <a:tabLst>
                <a:tab pos="355600" algn="l"/>
              </a:tabLst>
            </a:pPr>
            <a:r>
              <a:rPr lang="ja-JP" sz="2400" b="1" dirty="0">
                <a:solidFill>
                  <a:srgbClr val="009650"/>
                </a:solidFill>
                <a:latin typeface="Meiryo"/>
                <a:ea typeface="Meiryo"/>
                <a:cs typeface="Meiryo"/>
                <a:sym typeface="Meiryo"/>
              </a:rPr>
              <a:t>❹</a:t>
            </a:r>
            <a:r>
              <a:rPr lang="en-US" altLang="ja-JP" sz="2400" b="1" dirty="0">
                <a:solidFill>
                  <a:srgbClr val="009650"/>
                </a:solidFill>
                <a:latin typeface="Meiryo"/>
                <a:ea typeface="Meiryo"/>
                <a:cs typeface="Meiryo"/>
                <a:sym typeface="Meiryo"/>
              </a:rPr>
              <a:t>	</a:t>
            </a:r>
            <a:r>
              <a:rPr lang="ja-JP" altLang="en-US" sz="1800" b="1" dirty="0">
                <a:solidFill>
                  <a:schemeClr val="dk1"/>
                </a:solidFill>
                <a:latin typeface="Meiryo"/>
                <a:ea typeface="Meiryo"/>
                <a:cs typeface="Meiryo"/>
                <a:sym typeface="Meiryo"/>
              </a:rPr>
              <a:t>結果が</a:t>
            </a:r>
            <a:endParaRPr lang="en-US" altLang="ja-JP" sz="1800" b="1" dirty="0">
              <a:solidFill>
                <a:schemeClr val="dk1"/>
              </a:solidFill>
              <a:latin typeface="Meiryo"/>
              <a:ea typeface="Meiryo"/>
              <a:cs typeface="Meiryo"/>
              <a:sym typeface="Meiryo"/>
            </a:endParaRPr>
          </a:p>
          <a:p>
            <a:pPr marL="9525" lvl="0" algn="l" rtl="0">
              <a:spcBef>
                <a:spcPts val="0"/>
              </a:spcBef>
              <a:spcAft>
                <a:spcPts val="0"/>
              </a:spcAft>
              <a:buClr>
                <a:schemeClr val="dk1"/>
              </a:buClr>
              <a:buFont typeface="Arial"/>
              <a:buNone/>
              <a:tabLst>
                <a:tab pos="355600" algn="l"/>
              </a:tabLst>
            </a:pPr>
            <a:r>
              <a:rPr lang="en-US" altLang="ja-JP" sz="1800" b="1" dirty="0">
                <a:solidFill>
                  <a:schemeClr val="dk1"/>
                </a:solidFill>
                <a:latin typeface="Meiryo"/>
                <a:ea typeface="Meiryo"/>
                <a:cs typeface="Meiryo"/>
                <a:sym typeface="Meiryo"/>
              </a:rPr>
              <a:t>	</a:t>
            </a:r>
            <a:r>
              <a:rPr lang="ja-JP" altLang="en-US" sz="1800" b="1" dirty="0">
                <a:solidFill>
                  <a:schemeClr val="dk1"/>
                </a:solidFill>
                <a:latin typeface="Meiryo"/>
                <a:ea typeface="Meiryo"/>
                <a:cs typeface="Meiryo"/>
                <a:sym typeface="Meiryo"/>
              </a:rPr>
              <a:t>表示されます</a:t>
            </a:r>
            <a:endParaRPr sz="1800" b="1" dirty="0">
              <a:solidFill>
                <a:srgbClr val="009650"/>
              </a:solidFill>
              <a:latin typeface="Meiryo"/>
              <a:ea typeface="Meiryo"/>
              <a:cs typeface="Meiryo"/>
              <a:sym typeface="Meiryo"/>
            </a:endParaRPr>
          </a:p>
        </p:txBody>
      </p:sp>
      <p:grpSp>
        <p:nvGrpSpPr>
          <p:cNvPr id="352" name="Google Shape;352;g1424c8524af_1_57"/>
          <p:cNvGrpSpPr/>
          <p:nvPr/>
        </p:nvGrpSpPr>
        <p:grpSpPr>
          <a:xfrm>
            <a:off x="5269095" y="2885737"/>
            <a:ext cx="441000" cy="400200"/>
            <a:chOff x="3501100" y="4812902"/>
            <a:chExt cx="441000" cy="400200"/>
          </a:xfrm>
        </p:grpSpPr>
        <p:sp>
          <p:nvSpPr>
            <p:cNvPr id="353" name="Google Shape;353;g1424c8524af_1_57"/>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54" name="Google Shape;354;g1424c8524af_1_57"/>
            <p:cNvSpPr/>
            <p:nvPr/>
          </p:nvSpPr>
          <p:spPr>
            <a:xfrm>
              <a:off x="3501100" y="4812902"/>
              <a:ext cx="441000" cy="400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1" i="0" u="none" strike="noStrike" cap="none">
                <a:solidFill>
                  <a:srgbClr val="009650"/>
                </a:solidFill>
                <a:latin typeface="Meiryo"/>
                <a:ea typeface="Meiryo"/>
                <a:cs typeface="Meiryo"/>
                <a:sym typeface="Meiryo"/>
              </a:endParaRPr>
            </a:p>
          </p:txBody>
        </p:sp>
      </p:grpSp>
      <p:sp>
        <p:nvSpPr>
          <p:cNvPr id="357" name="Google Shape;357;g1424c8524af_1_57"/>
          <p:cNvSpPr txBox="1"/>
          <p:nvPr/>
        </p:nvSpPr>
        <p:spPr>
          <a:xfrm>
            <a:off x="4468000" y="4551550"/>
            <a:ext cx="441000" cy="400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endParaRPr/>
          </a:p>
        </p:txBody>
      </p:sp>
      <p:sp>
        <p:nvSpPr>
          <p:cNvPr id="359" name="Google Shape;359;g1424c8524af_1_57"/>
          <p:cNvSpPr txBox="1"/>
          <p:nvPr/>
        </p:nvSpPr>
        <p:spPr>
          <a:xfrm>
            <a:off x="524733" y="1351832"/>
            <a:ext cx="5127825" cy="3240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ja-JP" sz="1800" b="1" dirty="0">
                <a:solidFill>
                  <a:srgbClr val="009650"/>
                </a:solidFill>
                <a:highlight>
                  <a:schemeClr val="lt1"/>
                </a:highlight>
                <a:latin typeface="Meiryo"/>
                <a:ea typeface="Meiryo"/>
                <a:cs typeface="Meiryo"/>
                <a:sym typeface="Meiryo"/>
              </a:rPr>
              <a:t>位置情報</a:t>
            </a:r>
            <a:r>
              <a:rPr lang="ja-JP" altLang="en-US" sz="1800" b="1" dirty="0">
                <a:solidFill>
                  <a:srgbClr val="009650"/>
                </a:solidFill>
                <a:highlight>
                  <a:schemeClr val="lt1"/>
                </a:highlight>
                <a:latin typeface="Meiryo"/>
                <a:ea typeface="Meiryo"/>
                <a:cs typeface="Meiryo"/>
                <a:sym typeface="Meiryo"/>
              </a:rPr>
              <a:t>の</a:t>
            </a:r>
            <a:r>
              <a:rPr lang="ja-JP" altLang="en-US" sz="1800" b="1">
                <a:solidFill>
                  <a:srgbClr val="009650"/>
                </a:solidFill>
                <a:highlight>
                  <a:schemeClr val="lt1"/>
                </a:highlight>
                <a:latin typeface="Meiryo"/>
                <a:ea typeface="Meiryo"/>
                <a:cs typeface="Meiryo"/>
                <a:sym typeface="Meiryo"/>
              </a:rPr>
              <a:t>使用</a:t>
            </a:r>
            <a:r>
              <a:rPr lang="ja-JP" sz="1800" b="1">
                <a:solidFill>
                  <a:srgbClr val="009650"/>
                </a:solidFill>
                <a:highlight>
                  <a:schemeClr val="lt1"/>
                </a:highlight>
                <a:latin typeface="Meiryo"/>
                <a:ea typeface="Meiryo"/>
                <a:cs typeface="Meiryo"/>
                <a:sym typeface="Meiryo"/>
              </a:rPr>
              <a:t>を</a:t>
            </a:r>
            <a:r>
              <a:rPr lang="en-US" altLang="ja-JP" sz="1800" b="1">
                <a:solidFill>
                  <a:srgbClr val="009650"/>
                </a:solidFill>
                <a:latin typeface="Meiryo"/>
                <a:ea typeface="Meiryo"/>
                <a:cs typeface="Meiryo"/>
                <a:sym typeface="Meiryo"/>
              </a:rPr>
              <a:t>｢</a:t>
            </a:r>
            <a:r>
              <a:rPr lang="ja-JP" sz="1800" b="1">
                <a:solidFill>
                  <a:srgbClr val="009650"/>
                </a:solidFill>
                <a:latin typeface="Meiryo"/>
                <a:ea typeface="Meiryo"/>
                <a:cs typeface="Meiryo"/>
                <a:sym typeface="Meiryo"/>
              </a:rPr>
              <a:t>許可</a:t>
            </a:r>
            <a:r>
              <a:rPr lang="en-US" altLang="ja-JP" sz="1800" b="1" dirty="0">
                <a:solidFill>
                  <a:srgbClr val="009650"/>
                </a:solidFill>
                <a:highlight>
                  <a:schemeClr val="lt1"/>
                </a:highlight>
                <a:latin typeface="Meiryo"/>
                <a:ea typeface="Meiryo"/>
                <a:cs typeface="Meiryo"/>
                <a:sym typeface="Meiryo"/>
              </a:rPr>
              <a:t>｣</a:t>
            </a:r>
            <a:r>
              <a:rPr lang="ja-JP" altLang="en-US" sz="1800" b="1" dirty="0">
                <a:solidFill>
                  <a:srgbClr val="009650"/>
                </a:solidFill>
                <a:highlight>
                  <a:schemeClr val="lt1"/>
                </a:highlight>
                <a:latin typeface="Meiryo"/>
                <a:ea typeface="Meiryo"/>
                <a:cs typeface="Meiryo"/>
                <a:sym typeface="Meiryo"/>
              </a:rPr>
              <a:t>する場合</a:t>
            </a:r>
            <a:endParaRPr sz="1800" b="1" dirty="0">
              <a:solidFill>
                <a:srgbClr val="009650"/>
              </a:solidFill>
              <a:highlight>
                <a:schemeClr val="lt1"/>
              </a:highlight>
              <a:latin typeface="Meiryo"/>
              <a:ea typeface="Meiryo"/>
              <a:cs typeface="Meiryo"/>
              <a:sym typeface="Meiryo"/>
            </a:endParaRPr>
          </a:p>
          <a:p>
            <a:pPr marL="0" lvl="0" indent="0" algn="l" rtl="0">
              <a:spcBef>
                <a:spcPts val="0"/>
              </a:spcBef>
              <a:spcAft>
                <a:spcPts val="0"/>
              </a:spcAft>
              <a:buNone/>
            </a:pPr>
            <a:endParaRPr sz="1800" b="1" dirty="0">
              <a:solidFill>
                <a:schemeClr val="dk1"/>
              </a:solidFill>
              <a:highlight>
                <a:srgbClr val="FFFF00"/>
              </a:highlight>
              <a:latin typeface="Meiryo"/>
              <a:ea typeface="Meiryo"/>
              <a:cs typeface="Meiryo"/>
              <a:sym typeface="Meiryo"/>
            </a:endParaRPr>
          </a:p>
        </p:txBody>
      </p:sp>
      <p:pic>
        <p:nvPicPr>
          <p:cNvPr id="365" name="Google Shape;365;g1424c8524af_1_57" descr="医療機関検索画面で「初診可能」、「本日予約可能」、「診療コード入力」のいずれかをタップしている画像"/>
          <p:cNvPicPr preferRelativeResize="0">
            <a:picLocks noChangeAspect="1"/>
          </p:cNvPicPr>
          <p:nvPr/>
        </p:nvPicPr>
        <p:blipFill>
          <a:blip r:embed="rId8">
            <a:alphaModFix/>
          </a:blip>
          <a:stretch>
            <a:fillRect/>
          </a:stretch>
        </p:blipFill>
        <p:spPr>
          <a:xfrm>
            <a:off x="4764363" y="1999641"/>
            <a:ext cx="1629312" cy="3528000"/>
          </a:xfrm>
          <a:prstGeom prst="rect">
            <a:avLst/>
          </a:prstGeom>
          <a:noFill/>
          <a:ln w="9525">
            <a:solidFill>
              <a:schemeClr val="tx1">
                <a:lumMod val="50000"/>
                <a:lumOff val="50000"/>
              </a:schemeClr>
            </a:solidFill>
          </a:ln>
        </p:spPr>
      </p:pic>
      <p:pic>
        <p:nvPicPr>
          <p:cNvPr id="370" name="Google Shape;370;g1424c8524af_1_57" descr="検索結果の医療機関一覧が表示された画像"/>
          <p:cNvPicPr preferRelativeResize="0">
            <a:picLocks noChangeAspect="1"/>
          </p:cNvPicPr>
          <p:nvPr/>
        </p:nvPicPr>
        <p:blipFill>
          <a:blip r:embed="rId9">
            <a:alphaModFix/>
          </a:blip>
          <a:stretch>
            <a:fillRect/>
          </a:stretch>
        </p:blipFill>
        <p:spPr>
          <a:xfrm>
            <a:off x="6918169" y="1999641"/>
            <a:ext cx="1629320" cy="3528000"/>
          </a:xfrm>
          <a:prstGeom prst="rect">
            <a:avLst/>
          </a:prstGeom>
          <a:noFill/>
          <a:ln w="9525">
            <a:solidFill>
              <a:schemeClr val="tx1">
                <a:lumMod val="50000"/>
                <a:lumOff val="50000"/>
              </a:schemeClr>
            </a:solidFill>
          </a:ln>
        </p:spPr>
      </p:pic>
      <p:sp>
        <p:nvSpPr>
          <p:cNvPr id="371" name="Google Shape;371;g1424c8524af_1_57"/>
          <p:cNvSpPr/>
          <p:nvPr/>
        </p:nvSpPr>
        <p:spPr>
          <a:xfrm>
            <a:off x="2797755" y="4094402"/>
            <a:ext cx="1218900" cy="4002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73" name="Google Shape;373;g1424c8524af_1_57"/>
          <p:cNvSpPr>
            <a:spLocks/>
          </p:cNvSpPr>
          <p:nvPr/>
        </p:nvSpPr>
        <p:spPr>
          <a:xfrm>
            <a:off x="4791795" y="2639119"/>
            <a:ext cx="1548000" cy="46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34"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5</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受診したい医療機関を検</a:t>
            </a:r>
            <a:r>
              <a:rPr lang="ja-JP" altLang="ja-JP" sz="3200" spc="-1250" dirty="0">
                <a:latin typeface="Meiryo"/>
                <a:ea typeface="Meiryo"/>
                <a:cs typeface="Meiryo"/>
                <a:sym typeface="Meiryo"/>
              </a:rPr>
              <a:t>索</a:t>
            </a:r>
            <a:r>
              <a:rPr lang="ja-JP" altLang="en-US" sz="3200" b="0" dirty="0">
                <a:sym typeface="Meiryo"/>
              </a:rPr>
              <a:t>［</a:t>
            </a:r>
            <a:r>
              <a:rPr lang="en-US" altLang="ja-JP" sz="3200" dirty="0">
                <a:latin typeface="Meiryo"/>
                <a:ea typeface="Meiryo"/>
                <a:cs typeface="Meiryo"/>
                <a:sym typeface="Meiryo"/>
              </a:rPr>
              <a:t>3</a:t>
            </a:r>
            <a:r>
              <a:rPr lang="ja-JP" altLang="en-US" sz="3200" b="0" dirty="0">
                <a:sym typeface="Meiryo"/>
              </a:rPr>
              <a:t>］</a:t>
            </a:r>
            <a:endParaRPr kumimoji="0" lang="ja-JP" altLang="en-US" sz="3200" b="0" kern="0" dirty="0"/>
          </a:p>
        </p:txBody>
      </p:sp>
      <p:grpSp>
        <p:nvGrpSpPr>
          <p:cNvPr id="35" name="図形グループ 34"/>
          <p:cNvGrpSpPr>
            <a:grpSpLocks noChangeAspect="1"/>
          </p:cNvGrpSpPr>
          <p:nvPr/>
        </p:nvGrpSpPr>
        <p:grpSpPr>
          <a:xfrm>
            <a:off x="4310195" y="3304349"/>
            <a:ext cx="360000" cy="270000"/>
            <a:chOff x="3355262" y="5469690"/>
            <a:chExt cx="720000" cy="540000"/>
          </a:xfrm>
        </p:grpSpPr>
        <p:cxnSp>
          <p:nvCxnSpPr>
            <p:cNvPr id="36" name="カギ線コネクタ 35"/>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8" name="図形グループ 37"/>
          <p:cNvGrpSpPr>
            <a:grpSpLocks noChangeAspect="1"/>
          </p:cNvGrpSpPr>
          <p:nvPr/>
        </p:nvGrpSpPr>
        <p:grpSpPr>
          <a:xfrm>
            <a:off x="6476038" y="3304349"/>
            <a:ext cx="360000" cy="270000"/>
            <a:chOff x="3355262" y="5469690"/>
            <a:chExt cx="720000" cy="540000"/>
          </a:xfrm>
        </p:grpSpPr>
        <p:cxnSp>
          <p:nvCxnSpPr>
            <p:cNvPr id="39" name="カギ線コネクタ 3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41" name="図形グループ 40"/>
          <p:cNvGrpSpPr/>
          <p:nvPr/>
        </p:nvGrpSpPr>
        <p:grpSpPr>
          <a:xfrm>
            <a:off x="6774473" y="1846853"/>
            <a:ext cx="296586" cy="293005"/>
            <a:chOff x="5101121" y="3995693"/>
            <a:chExt cx="296586" cy="293005"/>
          </a:xfrm>
        </p:grpSpPr>
        <p:sp>
          <p:nvSpPr>
            <p:cNvPr id="42" name="円/楕円 41"/>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43"/>
          <p:cNvGrpSpPr/>
          <p:nvPr/>
        </p:nvGrpSpPr>
        <p:grpSpPr>
          <a:xfrm>
            <a:off x="4653065" y="2505221"/>
            <a:ext cx="296586" cy="293005"/>
            <a:chOff x="4232441" y="3995693"/>
            <a:chExt cx="296586" cy="293005"/>
          </a:xfrm>
        </p:grpSpPr>
        <p:sp>
          <p:nvSpPr>
            <p:cNvPr id="45" name="円/楕円 44"/>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7" name="図形グループ 46"/>
          <p:cNvGrpSpPr/>
          <p:nvPr/>
        </p:nvGrpSpPr>
        <p:grpSpPr>
          <a:xfrm>
            <a:off x="2650529" y="3956197"/>
            <a:ext cx="296586" cy="293005"/>
            <a:chOff x="3546641" y="3995693"/>
            <a:chExt cx="296586" cy="293005"/>
          </a:xfrm>
        </p:grpSpPr>
        <p:sp>
          <p:nvSpPr>
            <p:cNvPr id="48" name="円/楕円 4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81"/>
        <p:cNvGrpSpPr/>
        <p:nvPr/>
      </p:nvGrpSpPr>
      <p:grpSpPr>
        <a:xfrm>
          <a:off x="0" y="0"/>
          <a:ext cx="0" cy="0"/>
          <a:chOff x="0" y="0"/>
          <a:chExt cx="0" cy="0"/>
        </a:xfrm>
      </p:grpSpPr>
      <p:pic>
        <p:nvPicPr>
          <p:cNvPr id="407" name="Google Shape;407;g1424c8524af_1_111" descr="検索ボックスに診療科目や病院名のような検索ワードを入力し「検索」をタップしている画像"/>
          <p:cNvPicPr preferRelativeResize="0">
            <a:picLocks noChangeAspect="1"/>
          </p:cNvPicPr>
          <p:nvPr/>
        </p:nvPicPr>
        <p:blipFill>
          <a:blip r:embed="rId5">
            <a:alphaModFix/>
          </a:blip>
          <a:stretch>
            <a:fillRect/>
          </a:stretch>
        </p:blipFill>
        <p:spPr>
          <a:xfrm>
            <a:off x="5599629" y="1990517"/>
            <a:ext cx="1414954" cy="2880000"/>
          </a:xfrm>
          <a:prstGeom prst="rect">
            <a:avLst/>
          </a:prstGeom>
          <a:noFill/>
          <a:ln w="9525">
            <a:solidFill>
              <a:schemeClr val="tx1">
                <a:lumMod val="50000"/>
                <a:lumOff val="50000"/>
              </a:schemeClr>
            </a:solidFill>
          </a:ln>
        </p:spPr>
      </p:pic>
      <p:pic>
        <p:nvPicPr>
          <p:cNvPr id="406" name="Google Shape;406;g1424c8524af_1_111" descr="医療機関検索画面の最上部にある｢診療科目・病院名をさがす｣をタップしている画像"/>
          <p:cNvPicPr preferRelativeResize="0">
            <a:picLocks noChangeAspect="1"/>
          </p:cNvPicPr>
          <p:nvPr/>
        </p:nvPicPr>
        <p:blipFill>
          <a:blip r:embed="rId6">
            <a:alphaModFix/>
          </a:blip>
          <a:stretch>
            <a:fillRect/>
          </a:stretch>
        </p:blipFill>
        <p:spPr>
          <a:xfrm>
            <a:off x="3901823" y="1990517"/>
            <a:ext cx="1527501" cy="2880000"/>
          </a:xfrm>
          <a:prstGeom prst="rect">
            <a:avLst/>
          </a:prstGeom>
          <a:noFill/>
          <a:ln w="9525">
            <a:solidFill>
              <a:schemeClr val="tx1">
                <a:lumMod val="50000"/>
                <a:lumOff val="50000"/>
              </a:schemeClr>
            </a:solidFill>
          </a:ln>
        </p:spPr>
      </p:pic>
      <p:pic>
        <p:nvPicPr>
          <p:cNvPr id="45" name="図 44" descr="位置情報の許可表示で、「許可しない」をタップしている画像"/>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428537" y="1993763"/>
            <a:ext cx="1322985" cy="2880000"/>
          </a:xfrm>
          <a:prstGeom prst="rect">
            <a:avLst/>
          </a:prstGeom>
        </p:spPr>
      </p:pic>
      <p:graphicFrame>
        <p:nvGraphicFramePr>
          <p:cNvPr id="2" name="オブジェクト 1" hidden="1">
            <a:extLst>
              <a:ext uri="{FF2B5EF4-FFF2-40B4-BE49-F238E27FC236}">
                <a16:creationId xmlns:a16="http://schemas.microsoft.com/office/drawing/2014/main" id="{1789B2CC-4E45-426C-B186-4A03402DCE70}"/>
              </a:ext>
            </a:extLst>
          </p:cNvPr>
          <p:cNvGraphicFramePr>
            <a:graphicFrameLocks noChangeAspect="1"/>
          </p:cNvGraphicFramePr>
          <p:nvPr>
            <p:custDataLst>
              <p:tags r:id="rId2"/>
            </p:custDataLst>
            <p:extLst>
              <p:ext uri="{D42A27DB-BD31-4B8C-83A1-F6EECF244321}">
                <p14:modId xmlns:p14="http://schemas.microsoft.com/office/powerpoint/2010/main" val="2484756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63" name="think-cell スライド" r:id="rId8" imgW="353" imgH="353" progId="TCLayout.ActiveDocument.1">
                  <p:embed/>
                </p:oleObj>
              </mc:Choice>
              <mc:Fallback>
                <p:oleObj name="think-cell スライド" r:id="rId8" imgW="353" imgH="353"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83" name="Google Shape;383;g1424c8524af_1_111"/>
          <p:cNvSpPr txBox="1"/>
          <p:nvPr/>
        </p:nvSpPr>
        <p:spPr>
          <a:xfrm>
            <a:off x="315298" y="1907183"/>
            <a:ext cx="2232000" cy="3797819"/>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None/>
              <a:tabLst>
                <a:tab pos="355600" algn="l"/>
              </a:tabLst>
            </a:pPr>
            <a:r>
              <a:rPr lang="ja-JP" sz="2400" b="1" dirty="0">
                <a:solidFill>
                  <a:srgbClr val="009650"/>
                </a:solidFill>
                <a:latin typeface="Meiryo"/>
                <a:ea typeface="Meiryo"/>
                <a:cs typeface="Meiryo"/>
                <a:sym typeface="Meiryo"/>
              </a:rPr>
              <a:t>❷</a:t>
            </a: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位置情報</a:t>
            </a:r>
            <a:r>
              <a:rPr lang="ja-JP" altLang="en-US" sz="1800" b="1" dirty="0">
                <a:solidFill>
                  <a:schemeClr val="dk1"/>
                </a:solidFill>
                <a:latin typeface="Meiryo"/>
                <a:ea typeface="Meiryo"/>
                <a:cs typeface="Meiryo"/>
                <a:sym typeface="Meiryo"/>
              </a:rPr>
              <a:t>の</a:t>
            </a:r>
            <a:endParaRPr lang="en-US" altLang="ja-JP" sz="1800" b="1" dirty="0">
              <a:solidFill>
                <a:schemeClr val="dk1"/>
              </a:solidFill>
              <a:latin typeface="Meiryo"/>
              <a:ea typeface="Meiryo"/>
              <a:cs typeface="Meiryo"/>
              <a:sym typeface="Meiryo"/>
            </a:endParaRPr>
          </a:p>
          <a:p>
            <a:pPr marL="9525" marR="0" lvl="0" algn="l" rtl="0">
              <a:spcBef>
                <a:spcPts val="0"/>
              </a:spcBef>
              <a:spcAft>
                <a:spcPts val="0"/>
              </a:spcAft>
              <a:buNone/>
              <a:tabLst>
                <a:tab pos="355600" algn="l"/>
              </a:tabLst>
            </a:pPr>
            <a:r>
              <a:rPr lang="en-US" altLang="ja-JP" sz="1800" b="1" dirty="0">
                <a:solidFill>
                  <a:schemeClr val="dk1"/>
                </a:solidFill>
                <a:latin typeface="Meiryo"/>
                <a:ea typeface="Meiryo"/>
                <a:cs typeface="Meiryo"/>
                <a:sym typeface="Meiryo"/>
              </a:rPr>
              <a:t>	</a:t>
            </a:r>
            <a:r>
              <a:rPr lang="ja-JP" altLang="en-US" sz="1800" b="1" dirty="0">
                <a:solidFill>
                  <a:schemeClr val="dk1"/>
                </a:solidFill>
                <a:latin typeface="Meiryo"/>
                <a:ea typeface="Meiryo"/>
                <a:cs typeface="Meiryo"/>
                <a:sym typeface="Meiryo"/>
              </a:rPr>
              <a:t>使用</a:t>
            </a:r>
            <a:r>
              <a:rPr lang="ja-JP" sz="1800" b="1" dirty="0">
                <a:solidFill>
                  <a:schemeClr val="dk1"/>
                </a:solidFill>
                <a:latin typeface="Meiryo"/>
                <a:ea typeface="Meiryo"/>
                <a:cs typeface="Meiryo"/>
                <a:sym typeface="Meiryo"/>
              </a:rPr>
              <a:t>への許可</a:t>
            </a:r>
            <a:endParaRPr lang="en-US" altLang="ja-JP" sz="1800" b="1" dirty="0">
              <a:solidFill>
                <a:schemeClr val="dk1"/>
              </a:solidFill>
              <a:latin typeface="Meiryo"/>
              <a:ea typeface="Meiryo"/>
              <a:cs typeface="Meiryo"/>
              <a:sym typeface="Meiryo"/>
            </a:endParaRPr>
          </a:p>
          <a:p>
            <a:pPr marL="9525" marR="0" lvl="0" algn="l" rtl="0">
              <a:spcBef>
                <a:spcPts val="0"/>
              </a:spcBef>
              <a:spcAft>
                <a:spcPts val="0"/>
              </a:spcAft>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表示</a:t>
            </a:r>
            <a:r>
              <a:rPr lang="ja-JP" altLang="en-US" sz="1800" b="1">
                <a:solidFill>
                  <a:schemeClr val="dk1"/>
                </a:solidFill>
                <a:latin typeface="Meiryo"/>
                <a:ea typeface="Meiryo"/>
                <a:cs typeface="Meiryo"/>
                <a:sym typeface="Meiryo"/>
              </a:rPr>
              <a:t>で</a:t>
            </a:r>
            <a:r>
              <a:rPr lang="ja-JP" sz="1800" b="1">
                <a:solidFill>
                  <a:schemeClr val="dk1"/>
                </a:solidFill>
                <a:latin typeface="Meiryo"/>
                <a:ea typeface="Meiryo"/>
                <a:cs typeface="Meiryo"/>
                <a:sym typeface="Meiryo"/>
              </a:rPr>
              <a:t>、</a:t>
            </a:r>
            <a:endParaRPr lang="en-US" altLang="ja-JP" sz="1800" b="1">
              <a:solidFill>
                <a:schemeClr val="dk1"/>
              </a:solidFill>
              <a:latin typeface="Meiryo"/>
              <a:ea typeface="Meiryo"/>
              <a:cs typeface="Meiryo"/>
              <a:sym typeface="Meiryo"/>
            </a:endParaRPr>
          </a:p>
          <a:p>
            <a:pPr marL="9525" marR="0" lvl="0" algn="l" rtl="0">
              <a:spcBef>
                <a:spcPts val="0"/>
              </a:spcBef>
              <a:spcAft>
                <a:spcPts val="0"/>
              </a:spcAft>
              <a:buNone/>
              <a:tabLst>
                <a:tab pos="355600" algn="l"/>
              </a:tabLst>
            </a:pPr>
            <a:r>
              <a:rPr lang="en-US" altLang="ja-JP" sz="1800" b="1">
                <a:solidFill>
                  <a:schemeClr val="dk1"/>
                </a:solidFill>
                <a:latin typeface="Meiryo"/>
                <a:ea typeface="Meiryo"/>
                <a:cs typeface="Meiryo"/>
                <a:sym typeface="Meiryo"/>
              </a:rPr>
              <a:t>	｢</a:t>
            </a:r>
            <a:r>
              <a:rPr lang="ja-JP" sz="1800" b="1">
                <a:solidFill>
                  <a:schemeClr val="dk1"/>
                </a:solidFill>
                <a:latin typeface="Meiryo"/>
                <a:ea typeface="Meiryo"/>
                <a:cs typeface="Meiryo"/>
                <a:sym typeface="Meiryo"/>
              </a:rPr>
              <a:t>許可</a:t>
            </a:r>
            <a:r>
              <a:rPr lang="ja-JP" sz="1800" b="1" dirty="0">
                <a:solidFill>
                  <a:schemeClr val="dk1"/>
                </a:solidFill>
                <a:latin typeface="Meiryo"/>
                <a:ea typeface="Meiryo"/>
                <a:cs typeface="Meiryo"/>
                <a:sym typeface="Meiryo"/>
              </a:rPr>
              <a:t>しない</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a:t>
            </a: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選択し</a:t>
            </a:r>
            <a:r>
              <a:rPr lang="ja-JP" sz="1800" b="1" spc="-300"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タップ</a:t>
            </a:r>
            <a:endParaRPr sz="1800" b="1" dirty="0">
              <a:solidFill>
                <a:schemeClr val="dk1"/>
              </a:solidFill>
              <a:latin typeface="Meiryo"/>
              <a:ea typeface="Meiryo"/>
              <a:cs typeface="Meiryo"/>
              <a:sym typeface="Meiryo"/>
            </a:endParaRPr>
          </a:p>
          <a:p>
            <a:pPr marL="9525" marR="0" lvl="0" algn="l" rtl="0">
              <a:spcBef>
                <a:spcPts val="0"/>
              </a:spcBef>
              <a:spcAft>
                <a:spcPts val="0"/>
              </a:spcAft>
              <a:buNone/>
              <a:tabLst>
                <a:tab pos="355600" algn="l"/>
              </a:tabLst>
            </a:pPr>
            <a:r>
              <a:rPr lang="ja-JP" sz="2400" b="1">
                <a:solidFill>
                  <a:srgbClr val="009650"/>
                </a:solidFill>
                <a:latin typeface="Meiryo"/>
                <a:ea typeface="Meiryo"/>
                <a:cs typeface="Meiryo"/>
                <a:sym typeface="Meiryo"/>
              </a:rPr>
              <a:t>❸</a:t>
            </a:r>
            <a:r>
              <a:rPr lang="en-US" altLang="ja-JP" sz="1800" b="1" i="0" u="none" strike="noStrike" cap="none">
                <a:solidFill>
                  <a:srgbClr val="009650"/>
                </a:solidFill>
                <a:latin typeface="Meiryo"/>
                <a:ea typeface="Meiryo"/>
                <a:cs typeface="Meiryo"/>
                <a:sym typeface="Meiryo"/>
              </a:rPr>
              <a:t>	</a:t>
            </a:r>
            <a:r>
              <a:rPr lang="ja-JP" sz="1800" b="1">
                <a:solidFill>
                  <a:schemeClr val="dk1"/>
                </a:solidFill>
                <a:latin typeface="Meiryo"/>
                <a:ea typeface="Meiryo"/>
                <a:cs typeface="Meiryo"/>
                <a:sym typeface="Meiryo"/>
              </a:rPr>
              <a:t>最上部</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診療</a:t>
            </a:r>
            <a:endParaRPr lang="en-US" altLang="ja-JP" sz="1800" b="1">
              <a:solidFill>
                <a:schemeClr val="dk1"/>
              </a:solidFill>
              <a:latin typeface="Meiryo"/>
              <a:ea typeface="Meiryo"/>
              <a:cs typeface="Meiryo"/>
              <a:sym typeface="Meiryo"/>
            </a:endParaRPr>
          </a:p>
          <a:p>
            <a:pPr marL="9525" marR="0" lvl="0" algn="l" rtl="0">
              <a:spcBef>
                <a:spcPts val="0"/>
              </a:spcBef>
              <a:spcAft>
                <a:spcPts val="0"/>
              </a:spcAft>
              <a:buNone/>
              <a:tabLst>
                <a:tab pos="355600" algn="l"/>
              </a:tabLst>
            </a:pPr>
            <a:r>
              <a:rPr lang="en-US" altLang="ja-JP" sz="1800" b="1">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科</a:t>
            </a:r>
            <a:r>
              <a:rPr lang="ja-JP" sz="1800" b="1" spc="-300" dirty="0">
                <a:solidFill>
                  <a:schemeClr val="dk1"/>
                </a:solidFill>
                <a:latin typeface="Meiryo"/>
                <a:ea typeface="Meiryo"/>
                <a:cs typeface="Meiryo"/>
                <a:sym typeface="Meiryo"/>
              </a:rPr>
              <a:t>目・</a:t>
            </a:r>
            <a:r>
              <a:rPr lang="ja-JP" sz="1800" b="1" dirty="0">
                <a:solidFill>
                  <a:schemeClr val="dk1"/>
                </a:solidFill>
                <a:latin typeface="Meiryo"/>
                <a:ea typeface="Meiryo"/>
                <a:cs typeface="Meiryo"/>
                <a:sym typeface="Meiryo"/>
              </a:rPr>
              <a:t>病院名を</a:t>
            </a:r>
            <a:endParaRPr lang="en-US" altLang="ja-JP" sz="1800" b="1" dirty="0">
              <a:solidFill>
                <a:schemeClr val="dk1"/>
              </a:solidFill>
              <a:latin typeface="Meiryo"/>
              <a:ea typeface="Meiryo"/>
              <a:cs typeface="Meiryo"/>
              <a:sym typeface="Meiryo"/>
            </a:endParaRPr>
          </a:p>
          <a:p>
            <a:pPr marL="9525" marR="0" lvl="0" algn="l" rtl="0">
              <a:spcBef>
                <a:spcPts val="0"/>
              </a:spcBef>
              <a:spcAft>
                <a:spcPts val="0"/>
              </a:spcAft>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さがす</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タップ</a:t>
            </a:r>
            <a:endParaRPr sz="1800" b="1" dirty="0">
              <a:solidFill>
                <a:schemeClr val="dk1"/>
              </a:solidFill>
              <a:latin typeface="Meiryo"/>
              <a:ea typeface="Meiryo"/>
              <a:cs typeface="Meiryo"/>
              <a:sym typeface="Meiryo"/>
            </a:endParaRPr>
          </a:p>
          <a:p>
            <a:pPr marL="9525" marR="0" lvl="0" algn="l" rtl="0">
              <a:spcBef>
                <a:spcPts val="0"/>
              </a:spcBef>
              <a:spcAft>
                <a:spcPts val="0"/>
              </a:spcAft>
              <a:buNone/>
              <a:tabLst>
                <a:tab pos="355600" algn="l"/>
              </a:tabLst>
            </a:pPr>
            <a:r>
              <a:rPr lang="ja-JP" sz="2400" b="1" dirty="0">
                <a:solidFill>
                  <a:srgbClr val="009650"/>
                </a:solidFill>
                <a:latin typeface="Meiryo"/>
                <a:ea typeface="Meiryo"/>
                <a:cs typeface="Meiryo"/>
                <a:sym typeface="Meiryo"/>
              </a:rPr>
              <a:t>❹</a:t>
            </a:r>
            <a:r>
              <a:rPr lang="en-US" altLang="ja-JP" sz="1800" b="1"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検索ワードを</a:t>
            </a:r>
            <a:endParaRPr lang="en-US" altLang="ja-JP" sz="1800" b="1" dirty="0">
              <a:solidFill>
                <a:schemeClr val="dk1"/>
              </a:solidFill>
              <a:latin typeface="Meiryo"/>
              <a:ea typeface="Meiryo"/>
              <a:cs typeface="Meiryo"/>
              <a:sym typeface="Meiryo"/>
            </a:endParaRPr>
          </a:p>
          <a:p>
            <a:pPr marL="9525" marR="0" lvl="0" algn="l" rtl="0">
              <a:spcBef>
                <a:spcPts val="0"/>
              </a:spcBef>
              <a:spcAft>
                <a:spcPts val="0"/>
              </a:spcAft>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入力</a:t>
            </a:r>
            <a:endParaRPr sz="1800" b="1" dirty="0">
              <a:solidFill>
                <a:schemeClr val="dk1"/>
              </a:solidFill>
              <a:latin typeface="Meiryo"/>
              <a:ea typeface="Meiryo"/>
              <a:cs typeface="Meiryo"/>
              <a:sym typeface="Meiryo"/>
            </a:endParaRPr>
          </a:p>
          <a:p>
            <a:pPr marL="9525" lvl="0" algn="l" rtl="0">
              <a:spcBef>
                <a:spcPts val="0"/>
              </a:spcBef>
              <a:spcAft>
                <a:spcPts val="0"/>
              </a:spcAft>
              <a:buNone/>
              <a:tabLst>
                <a:tab pos="355600" algn="l"/>
              </a:tabLst>
            </a:pPr>
            <a:r>
              <a:rPr lang="ja-JP" sz="2400" b="1">
                <a:solidFill>
                  <a:srgbClr val="009650"/>
                </a:solidFill>
                <a:latin typeface="Meiryo"/>
                <a:ea typeface="Meiryo"/>
                <a:cs typeface="Meiryo"/>
                <a:sym typeface="Meiryo"/>
              </a:rPr>
              <a:t>❺</a:t>
            </a:r>
            <a:r>
              <a:rPr lang="en-US" altLang="ja-JP" sz="1800" b="1">
                <a:solidFill>
                  <a:srgbClr val="009650"/>
                </a:solidFill>
                <a:latin typeface="Meiryo"/>
                <a:ea typeface="Meiryo"/>
                <a:cs typeface="Meiryo"/>
                <a:sym typeface="Meiryo"/>
              </a:rPr>
              <a:t>	</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検索</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タップ</a:t>
            </a:r>
            <a:endParaRPr lang="en-US" altLang="ja-JP" sz="1800" b="1" dirty="0">
              <a:solidFill>
                <a:schemeClr val="dk1"/>
              </a:solidFill>
              <a:latin typeface="Meiryo"/>
              <a:ea typeface="Meiryo"/>
              <a:cs typeface="Meiryo"/>
              <a:sym typeface="Meiryo"/>
            </a:endParaRPr>
          </a:p>
          <a:p>
            <a:pPr marL="9525">
              <a:buClr>
                <a:schemeClr val="dk1"/>
              </a:buClr>
              <a:tabLst>
                <a:tab pos="355600" algn="l"/>
              </a:tabLst>
            </a:pPr>
            <a:r>
              <a:rPr lang="ja-JP" altLang="en-US" sz="2400" b="1" dirty="0">
                <a:solidFill>
                  <a:srgbClr val="009650"/>
                </a:solidFill>
                <a:latin typeface="Meiryo"/>
                <a:ea typeface="Meiryo"/>
                <a:cs typeface="Meiryo"/>
                <a:sym typeface="Meiryo"/>
              </a:rPr>
              <a:t>❻</a:t>
            </a:r>
            <a:r>
              <a:rPr lang="en-US" altLang="ja-JP" sz="1800" b="1" dirty="0">
                <a:solidFill>
                  <a:schemeClr val="dk1"/>
                </a:solidFill>
                <a:latin typeface="Meiryo"/>
                <a:ea typeface="Meiryo"/>
                <a:cs typeface="Meiryo"/>
                <a:sym typeface="Meiryo"/>
              </a:rPr>
              <a:t>	</a:t>
            </a:r>
            <a:r>
              <a:rPr lang="ja-JP" altLang="en-US" sz="1800" b="1" dirty="0">
                <a:solidFill>
                  <a:schemeClr val="dk1"/>
                </a:solidFill>
                <a:latin typeface="Meiryo"/>
                <a:ea typeface="Meiryo"/>
                <a:cs typeface="Meiryo"/>
                <a:sym typeface="Meiryo"/>
              </a:rPr>
              <a:t>検索完了です。</a:t>
            </a:r>
            <a:endParaRPr sz="1800" b="1" dirty="0">
              <a:solidFill>
                <a:srgbClr val="009650"/>
              </a:solidFill>
              <a:latin typeface="Meiryo"/>
              <a:ea typeface="Meiryo"/>
              <a:cs typeface="Meiryo"/>
              <a:sym typeface="Meiryo"/>
            </a:endParaRPr>
          </a:p>
        </p:txBody>
      </p:sp>
      <p:sp>
        <p:nvSpPr>
          <p:cNvPr id="394" name="Google Shape;394;g1424c8524af_1_111"/>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sz="1800" b="1" dirty="0">
                <a:solidFill>
                  <a:srgbClr val="009650"/>
                </a:solidFill>
                <a:highlight>
                  <a:schemeClr val="lt1"/>
                </a:highlight>
                <a:latin typeface="Meiryo"/>
                <a:ea typeface="Meiryo"/>
                <a:cs typeface="Meiryo"/>
                <a:sym typeface="Meiryo"/>
              </a:rPr>
              <a:t>位置情報</a:t>
            </a:r>
            <a:r>
              <a:rPr lang="ja-JP" altLang="en-US" sz="1800" b="1" dirty="0">
                <a:solidFill>
                  <a:srgbClr val="009650"/>
                </a:solidFill>
                <a:highlight>
                  <a:schemeClr val="lt1"/>
                </a:highlight>
                <a:latin typeface="Meiryo"/>
                <a:ea typeface="Meiryo"/>
                <a:cs typeface="Meiryo"/>
                <a:sym typeface="Meiryo"/>
              </a:rPr>
              <a:t>の</a:t>
            </a:r>
            <a:r>
              <a:rPr lang="ja-JP" altLang="en-US" sz="1800" b="1">
                <a:solidFill>
                  <a:srgbClr val="009650"/>
                </a:solidFill>
                <a:highlight>
                  <a:schemeClr val="lt1"/>
                </a:highlight>
                <a:latin typeface="Meiryo"/>
                <a:ea typeface="Meiryo"/>
                <a:cs typeface="Meiryo"/>
                <a:sym typeface="Meiryo"/>
              </a:rPr>
              <a:t>使用</a:t>
            </a:r>
            <a:r>
              <a:rPr lang="ja-JP" sz="1800" b="1">
                <a:solidFill>
                  <a:srgbClr val="009650"/>
                </a:solidFill>
                <a:highlight>
                  <a:schemeClr val="lt1"/>
                </a:highlight>
                <a:latin typeface="Meiryo"/>
                <a:ea typeface="Meiryo"/>
                <a:cs typeface="Meiryo"/>
                <a:sym typeface="Meiryo"/>
              </a:rPr>
              <a:t>を</a:t>
            </a:r>
            <a:r>
              <a:rPr lang="en-US" altLang="ja-JP" sz="1800" b="1">
                <a:solidFill>
                  <a:srgbClr val="009650"/>
                </a:solidFill>
                <a:highlight>
                  <a:schemeClr val="lt1"/>
                </a:highlight>
                <a:latin typeface="Meiryo"/>
                <a:ea typeface="Meiryo"/>
                <a:cs typeface="Meiryo"/>
                <a:sym typeface="Meiryo"/>
              </a:rPr>
              <a:t>｢</a:t>
            </a:r>
            <a:r>
              <a:rPr lang="ja-JP" sz="1800" b="1">
                <a:solidFill>
                  <a:srgbClr val="009650"/>
                </a:solidFill>
                <a:latin typeface="Meiryo"/>
                <a:ea typeface="Meiryo"/>
                <a:cs typeface="Meiryo"/>
                <a:sym typeface="Meiryo"/>
              </a:rPr>
              <a:t>許可</a:t>
            </a:r>
            <a:r>
              <a:rPr lang="ja-JP" sz="1800" b="1" dirty="0">
                <a:solidFill>
                  <a:srgbClr val="009650"/>
                </a:solidFill>
                <a:latin typeface="Meiryo"/>
                <a:ea typeface="Meiryo"/>
                <a:cs typeface="Meiryo"/>
                <a:sym typeface="Meiryo"/>
              </a:rPr>
              <a:t>しない</a:t>
            </a:r>
            <a:r>
              <a:rPr lang="en-US" altLang="ja-JP" sz="1800" b="1" dirty="0">
                <a:solidFill>
                  <a:srgbClr val="009650"/>
                </a:solidFill>
                <a:highlight>
                  <a:schemeClr val="lt1"/>
                </a:highlight>
                <a:latin typeface="Meiryo"/>
                <a:ea typeface="Meiryo"/>
                <a:cs typeface="Meiryo"/>
                <a:sym typeface="Meiryo"/>
              </a:rPr>
              <a:t>｣</a:t>
            </a:r>
            <a:r>
              <a:rPr lang="ja-JP" altLang="en-US" sz="1800" b="1" dirty="0">
                <a:solidFill>
                  <a:srgbClr val="009650"/>
                </a:solidFill>
                <a:highlight>
                  <a:schemeClr val="lt1"/>
                </a:highlight>
                <a:latin typeface="Meiryo"/>
                <a:ea typeface="Meiryo"/>
                <a:cs typeface="Meiryo"/>
                <a:sym typeface="Meiryo"/>
              </a:rPr>
              <a:t>場合</a:t>
            </a:r>
            <a:endParaRPr sz="1800" b="1" dirty="0">
              <a:solidFill>
                <a:srgbClr val="009650"/>
              </a:solidFill>
              <a:highlight>
                <a:srgbClr val="FFFF00"/>
              </a:highlight>
              <a:latin typeface="Meiryo"/>
              <a:ea typeface="Meiryo"/>
              <a:cs typeface="Meiryo"/>
              <a:sym typeface="Meiryo"/>
            </a:endParaRPr>
          </a:p>
        </p:txBody>
      </p:sp>
      <p:pic>
        <p:nvPicPr>
          <p:cNvPr id="50" name="Google Shape;432;g1424c8524af_1_160" descr="検索結果の医療機関一覧が表示された画像">
            <a:extLst>
              <a:ext uri="{FF2B5EF4-FFF2-40B4-BE49-F238E27FC236}">
                <a16:creationId xmlns:a16="http://schemas.microsoft.com/office/drawing/2014/main" id="{5CE63F43-2E73-432C-9FD1-12A37DD3666C}"/>
              </a:ext>
            </a:extLst>
          </p:cNvPr>
          <p:cNvPicPr preferRelativeResize="0">
            <a:picLocks noChangeAspect="1"/>
          </p:cNvPicPr>
          <p:nvPr/>
        </p:nvPicPr>
        <p:blipFill>
          <a:blip r:embed="rId10">
            <a:alphaModFix/>
          </a:blip>
          <a:stretch>
            <a:fillRect/>
          </a:stretch>
        </p:blipFill>
        <p:spPr>
          <a:xfrm>
            <a:off x="7165885" y="1990517"/>
            <a:ext cx="1373233" cy="2880000"/>
          </a:xfrm>
          <a:prstGeom prst="rect">
            <a:avLst/>
          </a:prstGeom>
          <a:noFill/>
          <a:ln w="9525">
            <a:solidFill>
              <a:schemeClr val="tx1">
                <a:lumMod val="50000"/>
                <a:lumOff val="50000"/>
              </a:schemeClr>
            </a:solidFill>
          </a:ln>
        </p:spPr>
      </p:pic>
      <p:sp>
        <p:nvSpPr>
          <p:cNvPr id="6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62"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5</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受診したい医療機関を検</a:t>
            </a:r>
            <a:r>
              <a:rPr lang="ja-JP" altLang="ja-JP" sz="3200" spc="-1250" dirty="0">
                <a:latin typeface="Meiryo"/>
                <a:ea typeface="Meiryo"/>
                <a:cs typeface="Meiryo"/>
                <a:sym typeface="Meiryo"/>
              </a:rPr>
              <a:t>索</a:t>
            </a:r>
            <a:r>
              <a:rPr lang="ja-JP" altLang="en-US" sz="3200" b="0" dirty="0">
                <a:sym typeface="Meiryo"/>
              </a:rPr>
              <a:t>［</a:t>
            </a:r>
            <a:r>
              <a:rPr lang="en-US" altLang="ja-JP" sz="3200" dirty="0">
                <a:latin typeface="Meiryo"/>
                <a:ea typeface="Meiryo"/>
                <a:cs typeface="Meiryo"/>
                <a:sym typeface="Meiryo"/>
              </a:rPr>
              <a:t>4</a:t>
            </a:r>
            <a:r>
              <a:rPr lang="ja-JP" altLang="en-US" sz="3200" b="0" dirty="0">
                <a:sym typeface="Meiryo"/>
              </a:rPr>
              <a:t>］</a:t>
            </a:r>
            <a:endParaRPr kumimoji="0" lang="ja-JP" altLang="en-US" sz="3200" b="0" kern="0" dirty="0"/>
          </a:p>
        </p:txBody>
      </p:sp>
      <p:sp>
        <p:nvSpPr>
          <p:cNvPr id="409" name="Google Shape;409;g1424c8524af_1_111"/>
          <p:cNvSpPr/>
          <p:nvPr/>
        </p:nvSpPr>
        <p:spPr>
          <a:xfrm>
            <a:off x="3940489" y="2298954"/>
            <a:ext cx="1440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410" name="Google Shape;410;g1424c8524af_1_111"/>
          <p:cNvSpPr/>
          <p:nvPr/>
        </p:nvSpPr>
        <p:spPr>
          <a:xfrm>
            <a:off x="2571692" y="4014211"/>
            <a:ext cx="1044000" cy="21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408" name="Google Shape;408;g1424c8524af_1_111"/>
          <p:cNvSpPr/>
          <p:nvPr/>
        </p:nvSpPr>
        <p:spPr>
          <a:xfrm>
            <a:off x="5631013" y="4443811"/>
            <a:ext cx="1332000" cy="36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412" name="Google Shape;412;g1424c8524af_1_111"/>
          <p:cNvSpPr/>
          <p:nvPr/>
        </p:nvSpPr>
        <p:spPr>
          <a:xfrm>
            <a:off x="5631023" y="2133517"/>
            <a:ext cx="1332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63" name="図形グループ 62"/>
          <p:cNvGrpSpPr/>
          <p:nvPr/>
        </p:nvGrpSpPr>
        <p:grpSpPr>
          <a:xfrm>
            <a:off x="7023695" y="1828391"/>
            <a:ext cx="296586" cy="293005"/>
            <a:chOff x="6801905" y="3995693"/>
            <a:chExt cx="296586" cy="293005"/>
          </a:xfrm>
        </p:grpSpPr>
        <p:sp>
          <p:nvSpPr>
            <p:cNvPr id="64" name="円/楕円 63"/>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フリーフォーム 64"/>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図形グループ 65"/>
          <p:cNvGrpSpPr/>
          <p:nvPr/>
        </p:nvGrpSpPr>
        <p:grpSpPr>
          <a:xfrm>
            <a:off x="5477747" y="4287271"/>
            <a:ext cx="296586" cy="293005"/>
            <a:chOff x="5878361" y="3995693"/>
            <a:chExt cx="296586" cy="293005"/>
          </a:xfrm>
        </p:grpSpPr>
        <p:sp>
          <p:nvSpPr>
            <p:cNvPr id="67" name="円/楕円 66"/>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9" name="図形グループ 68"/>
          <p:cNvGrpSpPr/>
          <p:nvPr/>
        </p:nvGrpSpPr>
        <p:grpSpPr>
          <a:xfrm>
            <a:off x="5491959" y="1974387"/>
            <a:ext cx="296586" cy="293005"/>
            <a:chOff x="5101121" y="3995693"/>
            <a:chExt cx="296586" cy="293005"/>
          </a:xfrm>
        </p:grpSpPr>
        <p:sp>
          <p:nvSpPr>
            <p:cNvPr id="70" name="円/楕円 69"/>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2" name="図形グループ 71"/>
          <p:cNvGrpSpPr/>
          <p:nvPr/>
        </p:nvGrpSpPr>
        <p:grpSpPr>
          <a:xfrm>
            <a:off x="3822119" y="2146263"/>
            <a:ext cx="296586" cy="293005"/>
            <a:chOff x="4232441" y="3995693"/>
            <a:chExt cx="296586" cy="293005"/>
          </a:xfrm>
        </p:grpSpPr>
        <p:sp>
          <p:nvSpPr>
            <p:cNvPr id="73" name="円/楕円 72"/>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5" name="図形グループ 74"/>
          <p:cNvGrpSpPr/>
          <p:nvPr/>
        </p:nvGrpSpPr>
        <p:grpSpPr>
          <a:xfrm>
            <a:off x="2421301" y="3865061"/>
            <a:ext cx="296586" cy="293005"/>
            <a:chOff x="3546641" y="3995693"/>
            <a:chExt cx="296586" cy="293005"/>
          </a:xfrm>
        </p:grpSpPr>
        <p:sp>
          <p:nvSpPr>
            <p:cNvPr id="76" name="円/楕円 7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7" name="フリーフォーム 7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6" name="図形グループ 45"/>
          <p:cNvGrpSpPr>
            <a:grpSpLocks noChangeAspect="1"/>
          </p:cNvGrpSpPr>
          <p:nvPr/>
        </p:nvGrpSpPr>
        <p:grpSpPr>
          <a:xfrm>
            <a:off x="3580215" y="3335085"/>
            <a:ext cx="270000" cy="202500"/>
            <a:chOff x="3355262" y="5469690"/>
            <a:chExt cx="720000" cy="540000"/>
          </a:xfrm>
        </p:grpSpPr>
        <p:cxnSp>
          <p:nvCxnSpPr>
            <p:cNvPr id="47" name="カギ線コネクタ 46"/>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49" name="図形グループ 48"/>
          <p:cNvGrpSpPr>
            <a:grpSpLocks noChangeAspect="1"/>
          </p:cNvGrpSpPr>
          <p:nvPr/>
        </p:nvGrpSpPr>
        <p:grpSpPr>
          <a:xfrm>
            <a:off x="5277334" y="3335085"/>
            <a:ext cx="270000" cy="202500"/>
            <a:chOff x="3355262" y="5469690"/>
            <a:chExt cx="720000" cy="540000"/>
          </a:xfrm>
        </p:grpSpPr>
        <p:cxnSp>
          <p:nvCxnSpPr>
            <p:cNvPr id="51" name="カギ線コネクタ 50"/>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53" name="図形グループ 52"/>
          <p:cNvGrpSpPr>
            <a:grpSpLocks noChangeAspect="1"/>
          </p:cNvGrpSpPr>
          <p:nvPr/>
        </p:nvGrpSpPr>
        <p:grpSpPr>
          <a:xfrm>
            <a:off x="6858958" y="3335085"/>
            <a:ext cx="270000" cy="202500"/>
            <a:chOff x="3355262" y="5469690"/>
            <a:chExt cx="720000" cy="540000"/>
          </a:xfrm>
        </p:grpSpPr>
        <p:cxnSp>
          <p:nvCxnSpPr>
            <p:cNvPr id="54" name="カギ線コネクタ 53"/>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38"/>
        <p:cNvGrpSpPr/>
        <p:nvPr/>
      </p:nvGrpSpPr>
      <p:grpSpPr>
        <a:xfrm>
          <a:off x="0" y="0"/>
          <a:ext cx="0" cy="0"/>
          <a:chOff x="0" y="0"/>
          <a:chExt cx="0" cy="0"/>
        </a:xfrm>
      </p:grpSpPr>
      <p:sp>
        <p:nvSpPr>
          <p:cNvPr id="439" name="Google Shape;439;p12"/>
          <p:cNvSpPr txBox="1"/>
          <p:nvPr/>
        </p:nvSpPr>
        <p:spPr>
          <a:xfrm>
            <a:off x="1780308" y="1943100"/>
            <a:ext cx="6984000" cy="41559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sz="4800" b="1" dirty="0">
                <a:solidFill>
                  <a:srgbClr val="009650"/>
                </a:solidFill>
                <a:latin typeface="Meiryo"/>
                <a:ea typeface="Meiryo"/>
                <a:cs typeface="Meiryo"/>
                <a:sym typeface="Meiryo"/>
              </a:rPr>
              <a:t>ここ</a:t>
            </a:r>
            <a:r>
              <a:rPr lang="ja-JP" sz="4800" b="1">
                <a:solidFill>
                  <a:srgbClr val="009650"/>
                </a:solidFill>
                <a:latin typeface="Meiryo"/>
                <a:ea typeface="Meiryo"/>
                <a:cs typeface="Meiryo"/>
                <a:sym typeface="Meiryo"/>
              </a:rPr>
              <a:t>からは</a:t>
            </a:r>
            <a:r>
              <a:rPr lang="en-US" altLang="ja-JP" sz="4800" b="1">
                <a:solidFill>
                  <a:srgbClr val="009650"/>
                </a:solidFill>
                <a:latin typeface="Meiryo"/>
                <a:ea typeface="Meiryo"/>
                <a:cs typeface="Meiryo"/>
                <a:sym typeface="Meiryo"/>
              </a:rPr>
              <a:t>｢</a:t>
            </a:r>
            <a:r>
              <a:rPr lang="ja-JP" sz="4800" b="1">
                <a:solidFill>
                  <a:srgbClr val="009650"/>
                </a:solidFill>
                <a:latin typeface="Meiryo"/>
                <a:ea typeface="Meiryo"/>
                <a:cs typeface="Meiryo"/>
                <a:sym typeface="Meiryo"/>
              </a:rPr>
              <a:t>初診</a:t>
            </a:r>
            <a:r>
              <a:rPr lang="en-US" altLang="ja-JP" sz="4800" b="1" dirty="0">
                <a:solidFill>
                  <a:srgbClr val="009650"/>
                </a:solidFill>
                <a:latin typeface="Meiryo"/>
                <a:ea typeface="Meiryo"/>
                <a:cs typeface="Meiryo"/>
                <a:sym typeface="Meiryo"/>
              </a:rPr>
              <a:t>｣</a:t>
            </a:r>
            <a:r>
              <a:rPr lang="ja-JP" sz="4800" b="1" dirty="0">
                <a:solidFill>
                  <a:srgbClr val="009650"/>
                </a:solidFill>
                <a:latin typeface="Meiryo"/>
                <a:ea typeface="Meiryo"/>
                <a:cs typeface="Meiryo"/>
                <a:sym typeface="Meiryo"/>
              </a:rPr>
              <a:t>*の</a:t>
            </a:r>
            <a:endParaRPr sz="4800" b="1" dirty="0">
              <a:solidFill>
                <a:srgbClr val="009650"/>
              </a:solidFill>
              <a:latin typeface="Meiryo"/>
              <a:ea typeface="Meiryo"/>
              <a:cs typeface="Meiryo"/>
              <a:sym typeface="Meiryo"/>
            </a:endParaRPr>
          </a:p>
          <a:p>
            <a:pPr marL="0" marR="0" lvl="0" indent="0" algn="l" rtl="0">
              <a:spcBef>
                <a:spcPts val="0"/>
              </a:spcBef>
              <a:spcAft>
                <a:spcPts val="0"/>
              </a:spcAft>
              <a:buNone/>
            </a:pPr>
            <a:r>
              <a:rPr lang="ja-JP" sz="4800" b="1" dirty="0">
                <a:solidFill>
                  <a:srgbClr val="009650"/>
                </a:solidFill>
                <a:latin typeface="Meiryo"/>
                <a:ea typeface="Meiryo"/>
                <a:cs typeface="Meiryo"/>
                <a:sym typeface="Meiryo"/>
              </a:rPr>
              <a:t>場合のフロー説明です</a:t>
            </a:r>
            <a:endParaRPr sz="4800" b="1" dirty="0">
              <a:solidFill>
                <a:srgbClr val="009650"/>
              </a:solidFill>
              <a:latin typeface="Meiryo"/>
              <a:ea typeface="Meiryo"/>
              <a:cs typeface="Meiryo"/>
              <a:sym typeface="Meiryo"/>
            </a:endParaRPr>
          </a:p>
          <a:p>
            <a:pPr marL="0" marR="0" lvl="0" indent="0" algn="l" rtl="0">
              <a:spcBef>
                <a:spcPts val="0"/>
              </a:spcBef>
              <a:spcAft>
                <a:spcPts val="0"/>
              </a:spcAft>
              <a:buNone/>
            </a:pPr>
            <a:endParaRPr sz="4800" b="1" dirty="0">
              <a:solidFill>
                <a:srgbClr val="009650"/>
              </a:solidFill>
              <a:latin typeface="Meiryo"/>
              <a:ea typeface="Meiryo"/>
              <a:cs typeface="Meiryo"/>
              <a:sym typeface="Meiryo"/>
            </a:endParaRPr>
          </a:p>
          <a:p>
            <a:pPr lvl="0">
              <a:tabLst>
                <a:tab pos="355600" algn="l"/>
              </a:tabLst>
            </a:pPr>
            <a:r>
              <a:rPr lang="ja-JP" altLang="en-US" sz="2400" b="1" dirty="0">
                <a:solidFill>
                  <a:srgbClr val="009650"/>
                </a:solidFill>
                <a:latin typeface="Meiryo"/>
                <a:ea typeface="Meiryo"/>
                <a:cs typeface="Meiryo"/>
                <a:sym typeface="Meiryo"/>
              </a:rPr>
              <a:t>＊</a:t>
            </a:r>
            <a:r>
              <a:rPr lang="en-US" altLang="ja-JP" sz="2400" b="1" dirty="0">
                <a:solidFill>
                  <a:srgbClr val="009650"/>
                </a:solidFill>
                <a:latin typeface="Meiryo"/>
                <a:ea typeface="Meiryo"/>
                <a:cs typeface="Meiryo"/>
                <a:sym typeface="Meiryo"/>
              </a:rPr>
              <a:t>	</a:t>
            </a:r>
            <a:r>
              <a:rPr lang="ja-JP" sz="2400" b="1" dirty="0">
                <a:solidFill>
                  <a:srgbClr val="009650"/>
                </a:solidFill>
                <a:latin typeface="Meiryo"/>
                <a:ea typeface="Meiryo"/>
                <a:cs typeface="Meiryo"/>
                <a:sym typeface="Meiryo"/>
              </a:rPr>
              <a:t>その医療機関に初めてかかる場合です。</a:t>
            </a:r>
            <a:endParaRPr sz="2400" b="1" dirty="0">
              <a:solidFill>
                <a:srgbClr val="009650"/>
              </a:solidFill>
              <a:latin typeface="Meiryo"/>
              <a:ea typeface="Meiryo"/>
              <a:cs typeface="Meiryo"/>
              <a:sym typeface="Meiryo"/>
            </a:endParaRPr>
          </a:p>
          <a:p>
            <a:pPr marL="0" marR="0" lvl="0" indent="0" algn="l" rtl="0">
              <a:spcBef>
                <a:spcPts val="0"/>
              </a:spcBef>
              <a:spcAft>
                <a:spcPts val="0"/>
              </a:spcAft>
              <a:buNone/>
            </a:pPr>
            <a:endParaRPr sz="4800" b="1" dirty="0">
              <a:solidFill>
                <a:srgbClr val="009650"/>
              </a:solidFill>
              <a:latin typeface="Meiryo"/>
              <a:ea typeface="Meiryo"/>
              <a:cs typeface="Meiryo"/>
              <a:sym typeface="Meiryo"/>
            </a:endParaRPr>
          </a:p>
          <a:p>
            <a:pPr marL="0" marR="0" lvl="0" indent="0" algn="l" rtl="0">
              <a:spcBef>
                <a:spcPts val="0"/>
              </a:spcBef>
              <a:spcAft>
                <a:spcPts val="0"/>
              </a:spcAft>
              <a:buNone/>
            </a:pPr>
            <a:endParaRPr sz="4800" b="1" dirty="0">
              <a:solidFill>
                <a:srgbClr val="00B050"/>
              </a:solidFill>
              <a:latin typeface="Meiryo"/>
              <a:ea typeface="Meiryo"/>
              <a:cs typeface="Meiryo"/>
              <a:sym typeface="Meiryo"/>
            </a:endParaRPr>
          </a:p>
        </p:txBody>
      </p:sp>
      <p:sp>
        <p:nvSpPr>
          <p:cNvPr id="440" name="Google Shape;440;p12" descr="「クロン」アプリのアイコンの画像"/>
          <p:cNvSpPr/>
          <p:nvPr/>
        </p:nvSpPr>
        <p:spPr>
          <a:xfrm>
            <a:off x="533400" y="1981200"/>
            <a:ext cx="952800" cy="900000"/>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539"/>
              <a:buFont typeface="Arial"/>
              <a:buNone/>
            </a:pPr>
            <a:endParaRPr sz="1539" b="0" i="0" u="none" strike="noStrike" cap="none">
              <a:solidFill>
                <a:schemeClr val="dk1"/>
              </a:solidFill>
              <a:latin typeface="Calibri"/>
              <a:ea typeface="Calibri"/>
              <a:cs typeface="Calibri"/>
              <a:sym typeface="Calibri"/>
            </a:endParaRPr>
          </a:p>
        </p:txBody>
      </p:sp>
      <p:cxnSp>
        <p:nvCxnSpPr>
          <p:cNvPr id="441" name="Google Shape;441;p12"/>
          <p:cNvCxnSpPr/>
          <p:nvPr/>
        </p:nvCxnSpPr>
        <p:spPr>
          <a:xfrm>
            <a:off x="1690688" y="192088"/>
            <a:ext cx="0" cy="6300000"/>
          </a:xfrm>
          <a:prstGeom prst="straightConnector1">
            <a:avLst/>
          </a:prstGeom>
          <a:noFill/>
          <a:ln w="19050" cap="flat" cmpd="sng">
            <a:solidFill>
              <a:srgbClr val="009650"/>
            </a:solidFill>
            <a:prstDash val="solid"/>
            <a:round/>
            <a:headEnd type="none" w="sm" len="sm"/>
            <a:tailEnd type="none" w="sm" len="sm"/>
          </a:ln>
        </p:spPr>
      </p:cxn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46"/>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DBC1908-7DED-403D-935D-69EB0AE316FC}"/>
              </a:ext>
            </a:extLst>
          </p:cNvPr>
          <p:cNvGraphicFramePr>
            <a:graphicFrameLocks noChangeAspect="1"/>
          </p:cNvGraphicFramePr>
          <p:nvPr>
            <p:custDataLst>
              <p:tags r:id="rId2"/>
            </p:custDataLst>
            <p:extLst>
              <p:ext uri="{D42A27DB-BD31-4B8C-83A1-F6EECF244321}">
                <p14:modId xmlns:p14="http://schemas.microsoft.com/office/powerpoint/2010/main" val="1022939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11"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47" name="Google Shape;447;p13" descr="医療機関の画面で「予約可能日時を見る」をタップしている画像"/>
          <p:cNvPicPr preferRelativeResize="0">
            <a:picLocks noChangeAspect="1"/>
          </p:cNvPicPr>
          <p:nvPr/>
        </p:nvPicPr>
        <p:blipFill>
          <a:blip r:embed="rId7">
            <a:alphaModFix/>
          </a:blip>
          <a:stretch>
            <a:fillRect/>
          </a:stretch>
        </p:blipFill>
        <p:spPr>
          <a:xfrm>
            <a:off x="6920043" y="1995246"/>
            <a:ext cx="1620000" cy="3507822"/>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448" name="Google Shape;448;p13" descr="医療機関の画面で「初診」をタップしている画像"/>
          <p:cNvPicPr preferRelativeResize="0">
            <a:picLocks noChangeAspect="1"/>
          </p:cNvPicPr>
          <p:nvPr/>
        </p:nvPicPr>
        <p:blipFill>
          <a:blip r:embed="rId7">
            <a:alphaModFix/>
          </a:blip>
          <a:stretch>
            <a:fillRect/>
          </a:stretch>
        </p:blipFill>
        <p:spPr>
          <a:xfrm>
            <a:off x="4752870" y="1995246"/>
            <a:ext cx="1620000" cy="3507822"/>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449" name="Google Shape;449;p13" descr="受診したい医療機関の画面の画像"/>
          <p:cNvPicPr preferRelativeResize="0">
            <a:picLocks noChangeAspect="1"/>
          </p:cNvPicPr>
          <p:nvPr/>
        </p:nvPicPr>
        <p:blipFill>
          <a:blip r:embed="rId7">
            <a:alphaModFix/>
          </a:blip>
          <a:stretch>
            <a:fillRect/>
          </a:stretch>
        </p:blipFill>
        <p:spPr>
          <a:xfrm>
            <a:off x="2596721" y="2000519"/>
            <a:ext cx="1620000" cy="3507822"/>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451" name="Google Shape;451;p13"/>
          <p:cNvSpPr txBox="1"/>
          <p:nvPr/>
        </p:nvSpPr>
        <p:spPr>
          <a:xfrm>
            <a:off x="2579388" y="1613548"/>
            <a:ext cx="1224000" cy="225900"/>
          </a:xfrm>
          <a:prstGeom prst="rect">
            <a:avLst/>
          </a:prstGeom>
          <a:noFill/>
          <a:ln>
            <a:noFill/>
          </a:ln>
        </p:spPr>
        <p:txBody>
          <a:bodyPr spcFirstLastPara="1" wrap="square" lIns="0" tIns="1030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b="1">
                <a:solidFill>
                  <a:srgbClr val="009650"/>
                </a:solidFill>
                <a:latin typeface="Meiryo"/>
                <a:ea typeface="Meiryo"/>
                <a:cs typeface="Meiryo"/>
                <a:sym typeface="Meiryo"/>
              </a:rPr>
              <a:t>メニュー選択</a:t>
            </a:r>
            <a:endParaRPr sz="1400" b="1" i="0" u="none" strike="noStrike" cap="none">
              <a:solidFill>
                <a:srgbClr val="009650"/>
              </a:solidFill>
              <a:latin typeface="Meiryo"/>
              <a:ea typeface="Meiryo"/>
              <a:cs typeface="Meiryo"/>
              <a:sym typeface="Meiryo"/>
            </a:endParaRPr>
          </a:p>
        </p:txBody>
      </p:sp>
      <p:sp>
        <p:nvSpPr>
          <p:cNvPr id="452" name="Google Shape;452;p13"/>
          <p:cNvSpPr txBox="1"/>
          <p:nvPr/>
        </p:nvSpPr>
        <p:spPr>
          <a:xfrm>
            <a:off x="6787784" y="1613548"/>
            <a:ext cx="1620391" cy="225861"/>
          </a:xfrm>
          <a:prstGeom prst="rect">
            <a:avLst/>
          </a:prstGeom>
          <a:noFill/>
          <a:ln>
            <a:noFill/>
          </a:ln>
        </p:spPr>
        <p:txBody>
          <a:bodyPr spcFirstLastPara="1" wrap="square" lIns="0" tIns="1030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endParaRPr sz="1400" b="1" i="0" u="none" strike="noStrike" cap="none">
              <a:solidFill>
                <a:srgbClr val="009650"/>
              </a:solidFill>
              <a:latin typeface="Meiryo"/>
              <a:ea typeface="Meiryo"/>
              <a:cs typeface="Meiryo"/>
              <a:sym typeface="Meiryo"/>
            </a:endParaRPr>
          </a:p>
        </p:txBody>
      </p:sp>
      <p:sp>
        <p:nvSpPr>
          <p:cNvPr id="453" name="Google Shape;453;p13"/>
          <p:cNvSpPr txBox="1"/>
          <p:nvPr/>
        </p:nvSpPr>
        <p:spPr>
          <a:xfrm>
            <a:off x="321734" y="1905000"/>
            <a:ext cx="2202900" cy="1928077"/>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None/>
              <a:tabLst>
                <a:tab pos="355600" algn="l"/>
              </a:tabLst>
            </a:pPr>
            <a:r>
              <a:rPr lang="ja-JP" sz="2400" b="1" i="0" u="none" strike="noStrike" cap="none" dirty="0">
                <a:solidFill>
                  <a:srgbClr val="009650"/>
                </a:solidFill>
                <a:latin typeface="Meiryo"/>
                <a:ea typeface="Meiryo"/>
                <a:cs typeface="Meiryo"/>
                <a:sym typeface="Meiryo"/>
              </a:rPr>
              <a:t>❶</a:t>
            </a:r>
            <a:r>
              <a:rPr lang="en-US" altLang="ja-JP" sz="2400" b="1" i="0" u="none" strike="noStrike" cap="none"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受診したい</a:t>
            </a:r>
            <a:endParaRPr lang="en-US" altLang="ja-JP" sz="1800" b="1" dirty="0">
              <a:solidFill>
                <a:schemeClr val="dk1"/>
              </a:solidFill>
              <a:latin typeface="Meiryo"/>
              <a:ea typeface="Meiryo"/>
              <a:cs typeface="Meiryo"/>
              <a:sym typeface="Meiryo"/>
            </a:endParaRPr>
          </a:p>
          <a:p>
            <a:pPr marL="9525" marR="4344" lvl="0" algn="l" rtl="0">
              <a:spcBef>
                <a:spcPts val="0"/>
              </a:spcBef>
              <a:spcAft>
                <a:spcPts val="0"/>
              </a:spcAft>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医療機関を表示</a:t>
            </a:r>
            <a:endParaRPr sz="1800" b="1" i="0" u="none" strike="noStrike" cap="none" dirty="0">
              <a:solidFill>
                <a:schemeClr val="dk1"/>
              </a:solidFill>
              <a:latin typeface="Meiryo"/>
              <a:ea typeface="Meiryo"/>
              <a:cs typeface="Meiryo"/>
              <a:sym typeface="Meiryo"/>
            </a:endParaRPr>
          </a:p>
          <a:p>
            <a:pPr marL="9525" marR="4344" lvl="0" algn="l" rtl="0">
              <a:spcBef>
                <a:spcPts val="85"/>
              </a:spcBef>
              <a:spcAft>
                <a:spcPts val="0"/>
              </a:spcAft>
              <a:buNone/>
              <a:tabLst>
                <a:tab pos="355600" algn="l"/>
              </a:tabLst>
            </a:pPr>
            <a:r>
              <a:rPr lang="ja-JP" sz="2400" b="1" i="0" u="none" strike="noStrike" cap="none">
                <a:solidFill>
                  <a:srgbClr val="009650"/>
                </a:solidFill>
                <a:latin typeface="Meiryo"/>
                <a:ea typeface="Meiryo"/>
                <a:cs typeface="Meiryo"/>
                <a:sym typeface="Meiryo"/>
              </a:rPr>
              <a:t>❷</a:t>
            </a:r>
            <a:r>
              <a:rPr lang="en-US" altLang="ja-JP" sz="2400" b="1" i="0" u="none" strike="noStrike" cap="none">
                <a:solidFill>
                  <a:srgbClr val="009650"/>
                </a:solidFill>
                <a:latin typeface="Meiryo"/>
                <a:ea typeface="Meiryo"/>
                <a:cs typeface="Meiryo"/>
                <a:sym typeface="Meiryo"/>
              </a:rPr>
              <a:t>	</a:t>
            </a:r>
            <a:r>
              <a:rPr lang="en-US" altLang="ja-JP" sz="1800" b="1" i="0" u="none" strike="noStrike" cap="none">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初診</a:t>
            </a:r>
            <a:r>
              <a:rPr lang="en-US" altLang="ja-JP" sz="1800" b="1"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タップ</a:t>
            </a:r>
            <a:endParaRPr sz="1800" b="1" i="0" u="none" strike="noStrike" cap="none" dirty="0">
              <a:solidFill>
                <a:schemeClr val="dk1"/>
              </a:solidFill>
              <a:latin typeface="Meiryo"/>
              <a:ea typeface="Meiryo"/>
              <a:cs typeface="Meiryo"/>
              <a:sym typeface="Meiryo"/>
            </a:endParaRPr>
          </a:p>
          <a:p>
            <a:pPr marL="9525" marR="4344" lvl="0" algn="l" rtl="0">
              <a:spcBef>
                <a:spcPts val="85"/>
              </a:spcBef>
              <a:spcAft>
                <a:spcPts val="0"/>
              </a:spcAft>
              <a:buClr>
                <a:srgbClr val="000000"/>
              </a:buClr>
              <a:buSzPts val="2400"/>
              <a:buFont typeface="Arial"/>
              <a:buNone/>
              <a:tabLst>
                <a:tab pos="355600" algn="l"/>
              </a:tabLst>
            </a:pPr>
            <a:r>
              <a:rPr lang="ja-JP" sz="2400" b="1" i="0" u="none" strike="noStrike" cap="none">
                <a:solidFill>
                  <a:srgbClr val="009650"/>
                </a:solidFill>
                <a:latin typeface="Meiryo"/>
                <a:ea typeface="Meiryo"/>
                <a:cs typeface="Meiryo"/>
                <a:sym typeface="Meiryo"/>
              </a:rPr>
              <a:t>❸</a:t>
            </a:r>
            <a:r>
              <a:rPr lang="en-US" altLang="ja-JP" sz="2400" b="1" i="0" u="none" strike="noStrike" cap="none">
                <a:solidFill>
                  <a:srgbClr val="009650"/>
                </a:solidFill>
                <a:latin typeface="Meiryo"/>
                <a:ea typeface="Meiryo"/>
                <a:cs typeface="Meiryo"/>
                <a:sym typeface="Meiryo"/>
              </a:rPr>
              <a:t>	</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予約</a:t>
            </a:r>
            <a:r>
              <a:rPr lang="ja-JP" sz="1800" b="1" dirty="0">
                <a:solidFill>
                  <a:schemeClr val="dk1"/>
                </a:solidFill>
                <a:latin typeface="Meiryo"/>
                <a:ea typeface="Meiryo"/>
                <a:cs typeface="Meiryo"/>
                <a:sym typeface="Meiryo"/>
              </a:rPr>
              <a:t>可能日時を</a:t>
            </a:r>
            <a:endParaRPr lang="en-US" altLang="ja-JP" sz="1800" b="1" dirty="0">
              <a:solidFill>
                <a:schemeClr val="dk1"/>
              </a:solidFill>
              <a:latin typeface="Meiryo"/>
              <a:ea typeface="Meiryo"/>
              <a:cs typeface="Meiryo"/>
              <a:sym typeface="Meiryo"/>
            </a:endParaRPr>
          </a:p>
          <a:p>
            <a:pPr marL="9525" marR="4344" lvl="0" algn="l" rtl="0">
              <a:spcBef>
                <a:spcPts val="85"/>
              </a:spcBef>
              <a:spcAft>
                <a:spcPts val="0"/>
              </a:spcAft>
              <a:buClr>
                <a:srgbClr val="000000"/>
              </a:buClr>
              <a:buSzPts val="2400"/>
              <a:buFont typeface="Arial"/>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見る</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タップ</a:t>
            </a:r>
            <a:endParaRPr sz="1800" b="1" i="0" u="none" strike="noStrike" cap="none" dirty="0">
              <a:solidFill>
                <a:schemeClr val="dk1"/>
              </a:solidFill>
              <a:latin typeface="Meiryo"/>
              <a:ea typeface="Meiryo"/>
              <a:cs typeface="Meiryo"/>
              <a:sym typeface="Meiryo"/>
            </a:endParaRPr>
          </a:p>
          <a:p>
            <a:pPr marL="9525" marR="4344" lvl="0" algn="l" rtl="0">
              <a:spcBef>
                <a:spcPts val="85"/>
              </a:spcBef>
              <a:spcAft>
                <a:spcPts val="0"/>
              </a:spcAft>
              <a:buNone/>
              <a:tabLst>
                <a:tab pos="355600" algn="l"/>
              </a:tabLst>
            </a:pPr>
            <a:endParaRPr sz="1400" b="0" i="0" u="none" strike="noStrike" cap="none" dirty="0">
              <a:solidFill>
                <a:srgbClr val="000000"/>
              </a:solidFill>
              <a:latin typeface="Arial"/>
              <a:ea typeface="Arial"/>
              <a:cs typeface="Arial"/>
              <a:sym typeface="Arial"/>
            </a:endParaRPr>
          </a:p>
        </p:txBody>
      </p:sp>
      <p:sp>
        <p:nvSpPr>
          <p:cNvPr id="454" name="Google Shape;454;p13"/>
          <p:cNvSpPr/>
          <p:nvPr/>
        </p:nvSpPr>
        <p:spPr>
          <a:xfrm>
            <a:off x="6952166" y="5048391"/>
            <a:ext cx="154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458" name="Google Shape;458;p13"/>
          <p:cNvSpPr/>
          <p:nvPr/>
        </p:nvSpPr>
        <p:spPr>
          <a:xfrm>
            <a:off x="4790322" y="4216329"/>
            <a:ext cx="1548000" cy="82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31"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6</a:t>
            </a:r>
            <a:r>
              <a:rPr lang="en-US" altLang="ja-JP" sz="3200" spc="-1000" dirty="0">
                <a:latin typeface="Meiryo"/>
                <a:ea typeface="Meiryo"/>
                <a:cs typeface="Meiryo"/>
                <a:sym typeface="Meiryo"/>
              </a:rPr>
              <a:t>】</a:t>
            </a:r>
            <a:r>
              <a:rPr lang="ja-JP" altLang="en-US" sz="3200" dirty="0">
                <a:latin typeface="Meiryo"/>
                <a:ea typeface="Meiryo"/>
                <a:cs typeface="Meiryo"/>
                <a:sym typeface="Meiryo"/>
              </a:rPr>
              <a:t>診療</a:t>
            </a:r>
            <a:r>
              <a:rPr lang="ja-JP" altLang="ja-JP" sz="3200" dirty="0">
                <a:latin typeface="Meiryo"/>
                <a:ea typeface="Meiryo"/>
                <a:cs typeface="Meiryo"/>
                <a:sym typeface="Meiryo"/>
              </a:rPr>
              <a:t>メニューの選択</a:t>
            </a:r>
            <a:endParaRPr kumimoji="0" lang="ja-JP" altLang="en-US" sz="3200" b="0" kern="0" dirty="0"/>
          </a:p>
        </p:txBody>
      </p:sp>
      <p:grpSp>
        <p:nvGrpSpPr>
          <p:cNvPr id="32" name="図形グループ 31"/>
          <p:cNvGrpSpPr>
            <a:grpSpLocks noChangeAspect="1"/>
          </p:cNvGrpSpPr>
          <p:nvPr/>
        </p:nvGrpSpPr>
        <p:grpSpPr>
          <a:xfrm>
            <a:off x="4310195" y="3304349"/>
            <a:ext cx="360000" cy="270000"/>
            <a:chOff x="3355262" y="5469690"/>
            <a:chExt cx="720000" cy="540000"/>
          </a:xfrm>
        </p:grpSpPr>
        <p:cxnSp>
          <p:nvCxnSpPr>
            <p:cNvPr id="33" name="カギ線コネクタ 3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5" name="図形グループ 34"/>
          <p:cNvGrpSpPr>
            <a:grpSpLocks noChangeAspect="1"/>
          </p:cNvGrpSpPr>
          <p:nvPr/>
        </p:nvGrpSpPr>
        <p:grpSpPr>
          <a:xfrm>
            <a:off x="6476038" y="3304349"/>
            <a:ext cx="360000" cy="270000"/>
            <a:chOff x="3355262" y="5469690"/>
            <a:chExt cx="720000" cy="540000"/>
          </a:xfrm>
        </p:grpSpPr>
        <p:cxnSp>
          <p:nvCxnSpPr>
            <p:cNvPr id="36" name="カギ線コネクタ 35"/>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8" name="図形グループ 37"/>
          <p:cNvGrpSpPr/>
          <p:nvPr/>
        </p:nvGrpSpPr>
        <p:grpSpPr>
          <a:xfrm>
            <a:off x="6806581" y="4887037"/>
            <a:ext cx="296586" cy="293005"/>
            <a:chOff x="4232441" y="3995693"/>
            <a:chExt cx="296586" cy="293005"/>
          </a:xfrm>
        </p:grpSpPr>
        <p:sp>
          <p:nvSpPr>
            <p:cNvPr id="39" name="円/楕円 3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図形グループ 40"/>
          <p:cNvGrpSpPr/>
          <p:nvPr/>
        </p:nvGrpSpPr>
        <p:grpSpPr>
          <a:xfrm>
            <a:off x="4645453" y="4064849"/>
            <a:ext cx="296586" cy="293005"/>
            <a:chOff x="3546641" y="3995693"/>
            <a:chExt cx="296586" cy="293005"/>
          </a:xfrm>
        </p:grpSpPr>
        <p:sp>
          <p:nvSpPr>
            <p:cNvPr id="42" name="円/楕円 4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43"/>
          <p:cNvGrpSpPr/>
          <p:nvPr/>
        </p:nvGrpSpPr>
        <p:grpSpPr>
          <a:xfrm>
            <a:off x="2436377" y="1844173"/>
            <a:ext cx="296587" cy="293005"/>
            <a:chOff x="2897417" y="3995693"/>
            <a:chExt cx="296587" cy="293005"/>
          </a:xfrm>
        </p:grpSpPr>
        <p:sp>
          <p:nvSpPr>
            <p:cNvPr id="45" name="円/楕円 4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テキスト ボックス 4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78"/>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6C09DA5C-A3AB-41CB-8A46-E87A4CB5F2B8}"/>
              </a:ext>
            </a:extLst>
          </p:cNvPr>
          <p:cNvGraphicFramePr>
            <a:graphicFrameLocks noChangeAspect="1"/>
          </p:cNvGraphicFramePr>
          <p:nvPr>
            <p:custDataLst>
              <p:tags r:id="rId2"/>
            </p:custDataLst>
            <p:extLst>
              <p:ext uri="{D42A27DB-BD31-4B8C-83A1-F6EECF244321}">
                <p14:modId xmlns:p14="http://schemas.microsoft.com/office/powerpoint/2010/main" val="4049719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34"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79" name="Google Shape;479;p15" descr="予約可能日時画面で「決定」をタップしている画像"/>
          <p:cNvPicPr preferRelativeResize="0">
            <a:picLocks noChangeAspect="1"/>
          </p:cNvPicPr>
          <p:nvPr/>
        </p:nvPicPr>
        <p:blipFill>
          <a:blip r:embed="rId7">
            <a:alphaModFix/>
          </a:blip>
          <a:stretch>
            <a:fillRect/>
          </a:stretch>
        </p:blipFill>
        <p:spPr>
          <a:xfrm>
            <a:off x="6203171" y="1987574"/>
            <a:ext cx="1911967" cy="4140000"/>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480" name="Google Shape;480;p15" descr="予約可能日時画面のカレンダーから、予約希望日を選択している画像"/>
          <p:cNvPicPr preferRelativeResize="0">
            <a:picLocks noChangeAspect="1"/>
          </p:cNvPicPr>
          <p:nvPr/>
        </p:nvPicPr>
        <p:blipFill>
          <a:blip r:embed="rId7">
            <a:alphaModFix/>
          </a:blip>
          <a:stretch>
            <a:fillRect/>
          </a:stretch>
        </p:blipFill>
        <p:spPr>
          <a:xfrm>
            <a:off x="2960669" y="1995259"/>
            <a:ext cx="1911972"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482" name="Google Shape;482;p15"/>
          <p:cNvSpPr txBox="1"/>
          <p:nvPr/>
        </p:nvSpPr>
        <p:spPr>
          <a:xfrm>
            <a:off x="2937075" y="1623687"/>
            <a:ext cx="1510990" cy="2264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Meiryo"/>
                <a:ea typeface="Meiryo"/>
                <a:cs typeface="Meiryo"/>
                <a:sym typeface="Meiryo"/>
              </a:rPr>
              <a:t>予約日時を選ぶ</a:t>
            </a:r>
            <a:endParaRPr sz="1400" b="1" i="0" u="none" strike="noStrike" cap="none">
              <a:solidFill>
                <a:srgbClr val="009650"/>
              </a:solidFill>
              <a:latin typeface="Meiryo"/>
              <a:ea typeface="Meiryo"/>
              <a:cs typeface="Meiryo"/>
              <a:sym typeface="Meiryo"/>
            </a:endParaRPr>
          </a:p>
        </p:txBody>
      </p:sp>
      <p:sp>
        <p:nvSpPr>
          <p:cNvPr id="483" name="Google Shape;483;p15"/>
          <p:cNvSpPr txBox="1"/>
          <p:nvPr/>
        </p:nvSpPr>
        <p:spPr>
          <a:xfrm>
            <a:off x="321296" y="1902544"/>
            <a:ext cx="2520000" cy="1132987"/>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5600" algn="l"/>
              </a:tabLst>
            </a:pPr>
            <a:r>
              <a:rPr lang="ja-JP" sz="2400" b="1" dirty="0">
                <a:solidFill>
                  <a:srgbClr val="009650"/>
                </a:solidFill>
                <a:latin typeface="Meiryo"/>
                <a:ea typeface="Meiryo"/>
                <a:cs typeface="Meiryo"/>
                <a:sym typeface="Meiryo"/>
              </a:rPr>
              <a:t>❶</a:t>
            </a:r>
            <a:r>
              <a:rPr lang="en-US" altLang="ja-JP" sz="2400" b="1"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予約希望日を選択</a:t>
            </a:r>
            <a:endParaRPr sz="2400" b="1" i="0" u="none" strike="noStrike" cap="none" dirty="0">
              <a:solidFill>
                <a:srgbClr val="009650"/>
              </a:solidFill>
              <a:latin typeface="Meiryo"/>
              <a:ea typeface="Meiryo"/>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ja-JP" sz="2400" b="1" dirty="0">
                <a:solidFill>
                  <a:srgbClr val="009650"/>
                </a:solidFill>
                <a:latin typeface="Meiryo"/>
                <a:ea typeface="Meiryo"/>
                <a:cs typeface="Meiryo"/>
                <a:sym typeface="Meiryo"/>
              </a:rPr>
              <a:t>❷</a:t>
            </a:r>
            <a:r>
              <a:rPr lang="en-US" altLang="ja-JP" sz="2400" b="1"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希望の時間を選択</a:t>
            </a:r>
            <a:endParaRPr sz="1800" b="1" i="0" u="none" strike="noStrike" cap="none"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55600" algn="l"/>
              </a:tabLst>
            </a:pPr>
            <a:r>
              <a:rPr lang="ja-JP" sz="2400" b="1">
                <a:solidFill>
                  <a:srgbClr val="009650"/>
                </a:solidFill>
                <a:latin typeface="Meiryo"/>
                <a:ea typeface="Meiryo"/>
                <a:cs typeface="Meiryo"/>
                <a:sym typeface="Meiryo"/>
              </a:rPr>
              <a:t>❸</a:t>
            </a:r>
            <a:r>
              <a:rPr lang="en-US" altLang="ja-JP" sz="2400" b="1">
                <a:solidFill>
                  <a:srgbClr val="009650"/>
                </a:solidFill>
                <a:latin typeface="Meiryo"/>
                <a:ea typeface="Meiryo"/>
                <a:cs typeface="Meiryo"/>
                <a:sym typeface="Meiryo"/>
              </a:rPr>
              <a:t>	</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決定</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タップ</a:t>
            </a:r>
            <a:endParaRPr sz="1800" b="1" i="0" u="none" strike="noStrike" cap="none" dirty="0">
              <a:solidFill>
                <a:schemeClr val="dk1"/>
              </a:solidFill>
              <a:latin typeface="Meiryo"/>
              <a:ea typeface="Meiryo"/>
              <a:cs typeface="Meiryo"/>
              <a:sym typeface="Meiryo"/>
            </a:endParaRPr>
          </a:p>
        </p:txBody>
      </p:sp>
      <p:sp>
        <p:nvSpPr>
          <p:cNvPr id="484" name="Google Shape;484;p15"/>
          <p:cNvSpPr/>
          <p:nvPr/>
        </p:nvSpPr>
        <p:spPr>
          <a:xfrm>
            <a:off x="3019238" y="2524125"/>
            <a:ext cx="1791000" cy="18096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485" name="Google Shape;485;p15"/>
          <p:cNvSpPr/>
          <p:nvPr/>
        </p:nvSpPr>
        <p:spPr>
          <a:xfrm>
            <a:off x="3019238" y="4657800"/>
            <a:ext cx="1791000" cy="9621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489" name="Google Shape;489;p15"/>
          <p:cNvSpPr/>
          <p:nvPr/>
        </p:nvSpPr>
        <p:spPr>
          <a:xfrm>
            <a:off x="6259446" y="5571925"/>
            <a:ext cx="1791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6"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7</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予約日時の選択</a:t>
            </a:r>
            <a:endParaRPr kumimoji="0" lang="ja-JP" altLang="en-US" sz="3200" b="0" kern="0" dirty="0"/>
          </a:p>
        </p:txBody>
      </p:sp>
      <p:grpSp>
        <p:nvGrpSpPr>
          <p:cNvPr id="27" name="図形グループ 26"/>
          <p:cNvGrpSpPr>
            <a:grpSpLocks noChangeAspect="1"/>
          </p:cNvGrpSpPr>
          <p:nvPr/>
        </p:nvGrpSpPr>
        <p:grpSpPr>
          <a:xfrm>
            <a:off x="5196435" y="3167090"/>
            <a:ext cx="720000" cy="540000"/>
            <a:chOff x="3355262" y="5469690"/>
            <a:chExt cx="720000" cy="540000"/>
          </a:xfrm>
        </p:grpSpPr>
        <p:cxnSp>
          <p:nvCxnSpPr>
            <p:cNvPr id="28" name="カギ線コネクタ 27"/>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0" name="図形グループ 29"/>
          <p:cNvGrpSpPr/>
          <p:nvPr/>
        </p:nvGrpSpPr>
        <p:grpSpPr>
          <a:xfrm>
            <a:off x="6113819" y="5420082"/>
            <a:ext cx="296586" cy="293005"/>
            <a:chOff x="4232441" y="3995693"/>
            <a:chExt cx="296586" cy="293005"/>
          </a:xfrm>
        </p:grpSpPr>
        <p:sp>
          <p:nvSpPr>
            <p:cNvPr id="31" name="円/楕円 3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フリーフォーム 3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3" name="図形グループ 32"/>
          <p:cNvGrpSpPr/>
          <p:nvPr/>
        </p:nvGrpSpPr>
        <p:grpSpPr>
          <a:xfrm>
            <a:off x="2874365" y="4505680"/>
            <a:ext cx="296586" cy="293005"/>
            <a:chOff x="3546641" y="3995693"/>
            <a:chExt cx="296586" cy="293005"/>
          </a:xfrm>
        </p:grpSpPr>
        <p:sp>
          <p:nvSpPr>
            <p:cNvPr id="34" name="円/楕円 3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フリーフォーム 34"/>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6" name="図形グループ 35"/>
          <p:cNvGrpSpPr/>
          <p:nvPr/>
        </p:nvGrpSpPr>
        <p:grpSpPr>
          <a:xfrm>
            <a:off x="2874365" y="2374369"/>
            <a:ext cx="296587" cy="293005"/>
            <a:chOff x="2897417" y="3995693"/>
            <a:chExt cx="296587" cy="293005"/>
          </a:xfrm>
        </p:grpSpPr>
        <p:sp>
          <p:nvSpPr>
            <p:cNvPr id="37" name="円/楕円 3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5BE4EEFD-B5AB-4546-B84D-435D43F2248C}"/>
              </a:ext>
            </a:extLst>
          </p:cNvPr>
          <p:cNvGraphicFramePr>
            <a:graphicFrameLocks noChangeAspect="1"/>
          </p:cNvGraphicFramePr>
          <p:nvPr>
            <p:custDataLst>
              <p:tags r:id="rId2"/>
            </p:custDataLst>
            <p:extLst>
              <p:ext uri="{D42A27DB-BD31-4B8C-83A1-F6EECF244321}">
                <p14:modId xmlns:p14="http://schemas.microsoft.com/office/powerpoint/2010/main" val="2342754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9"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06" name="Google Shape;506;g142cf40d0f7_0_6" descr="オンライン診療申込画面で「同意して次へ」をタップしている画像"/>
          <p:cNvPicPr preferRelativeResize="0">
            <a:picLocks noChangeAspect="1"/>
          </p:cNvPicPr>
          <p:nvPr/>
        </p:nvPicPr>
        <p:blipFill>
          <a:blip r:embed="rId7">
            <a:alphaModFix/>
          </a:blip>
          <a:stretch>
            <a:fillRect/>
          </a:stretch>
        </p:blipFill>
        <p:spPr>
          <a:xfrm>
            <a:off x="6204753" y="1994849"/>
            <a:ext cx="1896935"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509" name="Google Shape;509;g142cf40d0f7_0_6"/>
          <p:cNvSpPr txBox="1"/>
          <p:nvPr/>
        </p:nvSpPr>
        <p:spPr>
          <a:xfrm>
            <a:off x="2948650" y="1623687"/>
            <a:ext cx="1260000" cy="226500"/>
          </a:xfrm>
          <a:prstGeom prst="rect">
            <a:avLst/>
          </a:prstGeom>
          <a:noFill/>
          <a:ln>
            <a:noFill/>
          </a:ln>
        </p:spPr>
        <p:txBody>
          <a:bodyPr spcFirstLastPara="1" wrap="square" lIns="0" tIns="10850" rIns="0" bIns="0" anchor="t" anchorCtr="0">
            <a:spAutoFit/>
          </a:bodyPr>
          <a:lstStyle/>
          <a:p>
            <a:pPr marL="10859" marR="0" lvl="0" indent="0" algn="l" rtl="0">
              <a:lnSpc>
                <a:spcPct val="100000"/>
              </a:lnSpc>
              <a:spcBef>
                <a:spcPts val="0"/>
              </a:spcBef>
              <a:spcAft>
                <a:spcPts val="0"/>
              </a:spcAft>
              <a:buClr>
                <a:srgbClr val="000000"/>
              </a:buClr>
              <a:buSzPts val="1400"/>
              <a:buFont typeface="Arial"/>
              <a:buNone/>
            </a:pPr>
            <a:r>
              <a:rPr lang="ja-JP" b="1">
                <a:solidFill>
                  <a:srgbClr val="009650"/>
                </a:solidFill>
                <a:latin typeface="Meiryo"/>
                <a:ea typeface="Meiryo"/>
                <a:cs typeface="Meiryo"/>
                <a:sym typeface="Meiryo"/>
              </a:rPr>
              <a:t>同意書</a:t>
            </a:r>
            <a:r>
              <a:rPr lang="ja-JP" sz="1400" b="1" i="0" u="none" strike="noStrike" cap="none">
                <a:solidFill>
                  <a:srgbClr val="009650"/>
                </a:solidFill>
                <a:latin typeface="Meiryo"/>
                <a:ea typeface="Meiryo"/>
                <a:cs typeface="Meiryo"/>
                <a:sym typeface="Meiryo"/>
              </a:rPr>
              <a:t>の</a:t>
            </a:r>
            <a:r>
              <a:rPr lang="ja-JP" b="1">
                <a:solidFill>
                  <a:srgbClr val="009650"/>
                </a:solidFill>
                <a:latin typeface="Meiryo"/>
                <a:ea typeface="Meiryo"/>
                <a:cs typeface="Meiryo"/>
                <a:sym typeface="Meiryo"/>
              </a:rPr>
              <a:t>確認</a:t>
            </a:r>
            <a:endParaRPr sz="1400" b="1" i="0" u="none" strike="noStrike" cap="none">
              <a:solidFill>
                <a:srgbClr val="009650"/>
              </a:solidFill>
              <a:latin typeface="Meiryo"/>
              <a:ea typeface="Meiryo"/>
              <a:cs typeface="Meiryo"/>
              <a:sym typeface="Meiryo"/>
            </a:endParaRPr>
          </a:p>
        </p:txBody>
      </p:sp>
      <p:sp>
        <p:nvSpPr>
          <p:cNvPr id="510" name="Google Shape;510;g142cf40d0f7_0_6"/>
          <p:cNvSpPr txBox="1"/>
          <p:nvPr/>
        </p:nvSpPr>
        <p:spPr>
          <a:xfrm>
            <a:off x="315324" y="1905000"/>
            <a:ext cx="2520000" cy="1317653"/>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❶</a:t>
            </a:r>
            <a:r>
              <a:rPr lang="en-US" altLang="ja-JP" sz="2400" b="1" i="0" u="none" strike="noStrike" cap="none"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同意書の内容を</a:t>
            </a:r>
            <a:endParaRPr lang="en-US" altLang="ja-JP" sz="1800" b="1" dirty="0">
              <a:solidFill>
                <a:schemeClr val="dk1"/>
              </a:solidFill>
              <a:latin typeface="Meiryo"/>
              <a:ea typeface="Meiryo"/>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スクロールで確認</a:t>
            </a:r>
            <a:endParaRPr sz="1800" b="1" i="0" u="none" strike="noStrike" cap="none"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r>
              <a:rPr lang="en-US" altLang="ja-JP" sz="1800" b="1" i="0" u="none" strike="noStrike" cap="none" dirty="0">
                <a:solidFill>
                  <a:schemeClr val="dk1"/>
                </a:solidFill>
                <a:latin typeface="Meiryo"/>
                <a:ea typeface="Meiryo"/>
                <a:cs typeface="Meiryo"/>
                <a:sym typeface="Meiryo"/>
              </a:rPr>
              <a:t>｢</a:t>
            </a:r>
            <a:r>
              <a:rPr lang="ja-JP" altLang="en-US" sz="1800" b="1" i="0" u="none" strike="noStrike" cap="none" dirty="0">
                <a:solidFill>
                  <a:schemeClr val="dk1"/>
                </a:solidFill>
                <a:latin typeface="Meiryo"/>
                <a:ea typeface="Meiryo"/>
                <a:cs typeface="Meiryo"/>
                <a:sym typeface="Meiryo"/>
              </a:rPr>
              <a:t>同意して次へ</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a:t>
            </a:r>
            <a:endParaRPr lang="en-US" altLang="ja-JP" sz="1800" b="1" i="0" u="none" strike="noStrike" cap="none"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55600" algn="l"/>
              </a:tabLst>
            </a:pPr>
            <a:r>
              <a:rPr lang="ja-JP" altLang="en-US" sz="1800" b="1" dirty="0">
                <a:solidFill>
                  <a:schemeClr val="dk1"/>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タップ</a:t>
            </a:r>
            <a:endParaRPr sz="1800" b="1" i="0" u="none" strike="noStrike" cap="none" dirty="0">
              <a:solidFill>
                <a:schemeClr val="dk1"/>
              </a:solidFill>
              <a:latin typeface="Meiryo"/>
              <a:ea typeface="Meiryo"/>
              <a:cs typeface="Meiryo"/>
              <a:sym typeface="Meiryo"/>
            </a:endParaRPr>
          </a:p>
        </p:txBody>
      </p:sp>
      <p:sp>
        <p:nvSpPr>
          <p:cNvPr id="515" name="Google Shape;515;g142cf40d0f7_0_6"/>
          <p:cNvSpPr/>
          <p:nvPr/>
        </p:nvSpPr>
        <p:spPr>
          <a:xfrm>
            <a:off x="6229967" y="5594009"/>
            <a:ext cx="1836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3"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4"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8</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同意書の確認</a:t>
            </a:r>
            <a:endParaRPr kumimoji="0" lang="ja-JP" altLang="en-US" sz="3200" b="0" kern="0" dirty="0"/>
          </a:p>
        </p:txBody>
      </p:sp>
      <p:grpSp>
        <p:nvGrpSpPr>
          <p:cNvPr id="25" name="図形グループ 24"/>
          <p:cNvGrpSpPr>
            <a:grpSpLocks noChangeAspect="1"/>
          </p:cNvGrpSpPr>
          <p:nvPr/>
        </p:nvGrpSpPr>
        <p:grpSpPr>
          <a:xfrm>
            <a:off x="5196435" y="3167090"/>
            <a:ext cx="720000" cy="540000"/>
            <a:chOff x="3355262" y="5469690"/>
            <a:chExt cx="720000" cy="540000"/>
          </a:xfrm>
        </p:grpSpPr>
        <p:cxnSp>
          <p:nvCxnSpPr>
            <p:cNvPr id="26" name="カギ線コネクタ 25"/>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28" name="図形グループ 27"/>
          <p:cNvGrpSpPr/>
          <p:nvPr/>
        </p:nvGrpSpPr>
        <p:grpSpPr>
          <a:xfrm>
            <a:off x="6083891" y="5445556"/>
            <a:ext cx="296586" cy="293005"/>
            <a:chOff x="3546641" y="3995693"/>
            <a:chExt cx="296586" cy="293005"/>
          </a:xfrm>
        </p:grpSpPr>
        <p:sp>
          <p:nvSpPr>
            <p:cNvPr id="29" name="円/楕円 2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フリーフォーム 2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 name="グループ化 2" descr="オンライン診療申込画面で同意書の内容をスクロールしている画像">
            <a:extLst>
              <a:ext uri="{FF2B5EF4-FFF2-40B4-BE49-F238E27FC236}">
                <a16:creationId xmlns:a16="http://schemas.microsoft.com/office/drawing/2014/main" id="{1410CCB2-D46B-4BF8-9F7E-69FA0A8D91DA}"/>
              </a:ext>
            </a:extLst>
          </p:cNvPr>
          <p:cNvGrpSpPr/>
          <p:nvPr/>
        </p:nvGrpSpPr>
        <p:grpSpPr>
          <a:xfrm>
            <a:off x="2864465" y="1994849"/>
            <a:ext cx="2292154" cy="4140000"/>
            <a:chOff x="2864465" y="1994849"/>
            <a:chExt cx="2292154" cy="4140000"/>
          </a:xfrm>
        </p:grpSpPr>
        <p:pic>
          <p:nvPicPr>
            <p:cNvPr id="507" name="Google Shape;507;g142cf40d0f7_0_6"/>
            <p:cNvPicPr preferRelativeResize="0">
              <a:picLocks noChangeAspect="1"/>
            </p:cNvPicPr>
            <p:nvPr/>
          </p:nvPicPr>
          <p:blipFill>
            <a:blip r:embed="rId7">
              <a:alphaModFix/>
            </a:blip>
            <a:stretch>
              <a:fillRect/>
            </a:stretch>
          </p:blipFill>
          <p:spPr>
            <a:xfrm>
              <a:off x="2955922" y="1994849"/>
              <a:ext cx="1896935"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511" name="Google Shape;511;g142cf40d0f7_0_6"/>
            <p:cNvSpPr/>
            <p:nvPr/>
          </p:nvSpPr>
          <p:spPr>
            <a:xfrm>
              <a:off x="2998128" y="3791376"/>
              <a:ext cx="1800000" cy="183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1" name="上矢印 24">
              <a:extLst>
                <a:ext uri="{FF2B5EF4-FFF2-40B4-BE49-F238E27FC236}">
                  <a16:creationId xmlns:a16="http://schemas.microsoft.com/office/drawing/2014/main" id="{E4E93BD2-C4C0-4FF5-AF39-6BEC1171914D}"/>
                </a:ext>
              </a:extLst>
            </p:cNvPr>
            <p:cNvSpPr/>
            <p:nvPr/>
          </p:nvSpPr>
          <p:spPr>
            <a:xfrm>
              <a:off x="4237205" y="4251479"/>
              <a:ext cx="631902" cy="1811843"/>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grpSp>
          <p:nvGrpSpPr>
            <p:cNvPr id="31" name="図形グループ 30"/>
            <p:cNvGrpSpPr/>
            <p:nvPr/>
          </p:nvGrpSpPr>
          <p:grpSpPr>
            <a:xfrm>
              <a:off x="2864465" y="3649700"/>
              <a:ext cx="296587" cy="293005"/>
              <a:chOff x="2897417" y="3995693"/>
              <a:chExt cx="296587" cy="293005"/>
            </a:xfrm>
          </p:grpSpPr>
          <p:sp>
            <p:nvSpPr>
              <p:cNvPr id="32" name="円/楕円 3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テキスト ボックス 3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35" name="図 34"/>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4617107" y="5281574"/>
              <a:ext cx="504000" cy="575025"/>
            </a:xfrm>
            <a:prstGeom prst="rect">
              <a:avLst/>
            </a:prstGeom>
          </p:spPr>
        </p:pic>
      </p:gr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528"/>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8EE668FF-D292-4ECA-B4B4-CEE262654CFB}"/>
              </a:ext>
            </a:extLst>
          </p:cNvPr>
          <p:cNvGraphicFramePr>
            <a:graphicFrameLocks noChangeAspect="1"/>
          </p:cNvGraphicFramePr>
          <p:nvPr>
            <p:custDataLst>
              <p:tags r:id="rId2"/>
            </p:custDataLst>
            <p:extLst>
              <p:ext uri="{D42A27DB-BD31-4B8C-83A1-F6EECF244321}">
                <p14:modId xmlns:p14="http://schemas.microsoft.com/office/powerpoint/2010/main" val="2647635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82"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29" name="Google Shape;529;p14" descr="オンライン診療申込画面で「登録して次へ」をタップしている画像"/>
          <p:cNvPicPr preferRelativeResize="0">
            <a:picLocks noChangeAspect="1"/>
          </p:cNvPicPr>
          <p:nvPr/>
        </p:nvPicPr>
        <p:blipFill>
          <a:blip r:embed="rId7">
            <a:alphaModFix/>
          </a:blip>
          <a:stretch>
            <a:fillRect/>
          </a:stretch>
        </p:blipFill>
        <p:spPr>
          <a:xfrm>
            <a:off x="6200566" y="1995789"/>
            <a:ext cx="1910292" cy="4140000"/>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530" name="Google Shape;530;p14" descr="オンライン診療申込画面の受診理由入力欄に受診理由や症状などを入力している画像"/>
          <p:cNvPicPr preferRelativeResize="0">
            <a:picLocks noChangeAspect="1"/>
          </p:cNvPicPr>
          <p:nvPr/>
        </p:nvPicPr>
        <p:blipFill>
          <a:blip r:embed="rId8">
            <a:alphaModFix/>
          </a:blip>
          <a:stretch>
            <a:fillRect/>
          </a:stretch>
        </p:blipFill>
        <p:spPr>
          <a:xfrm>
            <a:off x="2954536" y="1990936"/>
            <a:ext cx="1911967"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532" name="Google Shape;532;p14"/>
          <p:cNvSpPr txBox="1"/>
          <p:nvPr/>
        </p:nvSpPr>
        <p:spPr>
          <a:xfrm>
            <a:off x="2948650" y="1623687"/>
            <a:ext cx="1259958" cy="2264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i="0" u="none" strike="noStrike" cap="none" dirty="0">
                <a:solidFill>
                  <a:srgbClr val="009650"/>
                </a:solidFill>
                <a:latin typeface="Meiryo"/>
                <a:ea typeface="Meiryo"/>
                <a:cs typeface="Meiryo"/>
                <a:sym typeface="Meiryo"/>
              </a:rPr>
              <a:t>受診理由の入力</a:t>
            </a:r>
            <a:endParaRPr sz="1400" b="1" i="0" u="none" strike="noStrike" cap="none" dirty="0">
              <a:solidFill>
                <a:srgbClr val="009650"/>
              </a:solidFill>
              <a:latin typeface="Meiryo"/>
              <a:ea typeface="Meiryo"/>
              <a:cs typeface="Meiryo"/>
              <a:sym typeface="Meiryo"/>
            </a:endParaRPr>
          </a:p>
        </p:txBody>
      </p:sp>
      <p:sp>
        <p:nvSpPr>
          <p:cNvPr id="533" name="Google Shape;533;p14"/>
          <p:cNvSpPr txBox="1"/>
          <p:nvPr/>
        </p:nvSpPr>
        <p:spPr>
          <a:xfrm>
            <a:off x="323791" y="1905000"/>
            <a:ext cx="2520000" cy="2489769"/>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Clr>
                <a:srgbClr val="000000"/>
              </a:buClr>
              <a:buSzPts val="2400"/>
              <a:buFont typeface="Arial"/>
              <a:buNone/>
              <a:tabLst>
                <a:tab pos="355600" algn="l"/>
              </a:tabLst>
            </a:pPr>
            <a:r>
              <a:rPr lang="ja-JP" sz="2400" b="1" i="0" u="none" strike="noStrike" cap="none">
                <a:solidFill>
                  <a:srgbClr val="009650"/>
                </a:solidFill>
                <a:latin typeface="Meiryo"/>
                <a:ea typeface="Meiryo"/>
                <a:cs typeface="Meiryo"/>
                <a:sym typeface="Meiryo"/>
              </a:rPr>
              <a:t>❶</a:t>
            </a:r>
            <a:r>
              <a:rPr lang="en-US" altLang="ja-JP" sz="2400" b="1" i="0" u="none" strike="noStrike" cap="none">
                <a:solidFill>
                  <a:srgbClr val="009650"/>
                </a:solidFill>
                <a:latin typeface="Meiryo"/>
                <a:ea typeface="Meiryo"/>
                <a:cs typeface="Meiryo"/>
                <a:sym typeface="Meiryo"/>
              </a:rPr>
              <a:t>	</a:t>
            </a:r>
            <a:r>
              <a:rPr lang="en-US" altLang="ja-JP" sz="1800" b="1" i="0" u="none" strike="noStrike" cap="none">
                <a:solidFill>
                  <a:schemeClr val="dk1"/>
                </a:solidFill>
                <a:latin typeface="Meiryo"/>
                <a:ea typeface="Meiryo"/>
                <a:cs typeface="Meiryo"/>
                <a:sym typeface="Meiryo"/>
              </a:rPr>
              <a:t>｢</a:t>
            </a:r>
            <a:r>
              <a:rPr lang="ja-JP" altLang="en-US" sz="1800" b="1" i="0" u="none" strike="noStrike" cap="none">
                <a:solidFill>
                  <a:schemeClr val="dk1"/>
                </a:solidFill>
                <a:latin typeface="Meiryo"/>
                <a:ea typeface="Meiryo"/>
                <a:cs typeface="Meiryo"/>
                <a:sym typeface="Meiryo"/>
              </a:rPr>
              <a:t>受</a:t>
            </a:r>
            <a:r>
              <a:rPr lang="ja-JP" sz="1800" b="1" i="0" u="none" strike="noStrike" cap="none">
                <a:solidFill>
                  <a:schemeClr val="dk1"/>
                </a:solidFill>
                <a:latin typeface="Meiryo"/>
                <a:ea typeface="Meiryo"/>
                <a:cs typeface="Meiryo"/>
                <a:sym typeface="Meiryo"/>
              </a:rPr>
              <a:t>診</a:t>
            </a:r>
            <a:r>
              <a:rPr lang="ja-JP" sz="1800" b="1" i="0" u="none" strike="noStrike" cap="none" dirty="0">
                <a:solidFill>
                  <a:schemeClr val="dk1"/>
                </a:solidFill>
                <a:latin typeface="Meiryo"/>
                <a:ea typeface="Meiryo"/>
                <a:cs typeface="Meiryo"/>
                <a:sym typeface="Meiryo"/>
              </a:rPr>
              <a:t>理由</a:t>
            </a:r>
            <a:r>
              <a:rPr lang="en-US" altLang="ja-JP" sz="1800" b="1" i="0" u="none" strike="noStrike" cap="none" dirty="0">
                <a:solidFill>
                  <a:schemeClr val="dk1"/>
                </a:solidFill>
                <a:latin typeface="Meiryo"/>
                <a:ea typeface="Meiryo"/>
                <a:cs typeface="Meiryo"/>
                <a:sym typeface="Meiryo"/>
              </a:rPr>
              <a:t>｣</a:t>
            </a:r>
            <a:r>
              <a:rPr lang="ja-JP" altLang="en-US" sz="1800" b="1" i="0" u="none" strike="noStrike" cap="none" dirty="0">
                <a:solidFill>
                  <a:schemeClr val="dk1"/>
                </a:solidFill>
                <a:latin typeface="Meiryo"/>
                <a:ea typeface="Meiryo"/>
                <a:cs typeface="Meiryo"/>
                <a:sym typeface="Meiryo"/>
              </a:rPr>
              <a:t>に</a:t>
            </a:r>
            <a:endParaRPr lang="en-US" altLang="ja-JP" sz="1800" b="1" i="0" u="none" strike="noStrike" cap="none" dirty="0">
              <a:solidFill>
                <a:schemeClr val="dk1"/>
              </a:solidFill>
              <a:latin typeface="Meiryo"/>
              <a:ea typeface="Meiryo"/>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Meiryo"/>
                <a:ea typeface="Meiryo"/>
                <a:cs typeface="Meiryo"/>
                <a:sym typeface="Meiryo"/>
              </a:rPr>
              <a:t>	</a:t>
            </a:r>
            <a:r>
              <a:rPr lang="ja-JP" altLang="en-US" sz="1800" b="1" i="0" u="none" strike="noStrike" cap="none" dirty="0">
                <a:solidFill>
                  <a:schemeClr val="dk1"/>
                </a:solidFill>
                <a:latin typeface="Meiryo"/>
                <a:ea typeface="Meiryo"/>
                <a:cs typeface="Meiryo"/>
                <a:sym typeface="Meiryo"/>
              </a:rPr>
              <a:t>受診理由や</a:t>
            </a:r>
            <a:endParaRPr lang="en-US" altLang="ja-JP" sz="1800" b="1" i="0" u="none" strike="noStrike" cap="none" dirty="0">
              <a:solidFill>
                <a:schemeClr val="dk1"/>
              </a:solidFill>
              <a:latin typeface="Meiryo"/>
              <a:ea typeface="Meiryo"/>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症状などを記入</a:t>
            </a:r>
            <a:endParaRPr sz="1800" b="1" i="0" u="none" strike="noStrike" cap="none"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55600" algn="l"/>
              </a:tabLst>
            </a:pPr>
            <a:r>
              <a:rPr lang="ja-JP" sz="2400" b="1" i="0" u="none" strike="noStrike" cap="none">
                <a:solidFill>
                  <a:srgbClr val="009650"/>
                </a:solidFill>
                <a:latin typeface="Meiryo"/>
                <a:ea typeface="Meiryo"/>
                <a:cs typeface="Meiryo"/>
                <a:sym typeface="Meiryo"/>
              </a:rPr>
              <a:t>❷</a:t>
            </a:r>
            <a:r>
              <a:rPr lang="en-US" altLang="ja-JP" sz="2400" b="1" i="0" u="none" strike="noStrike" cap="none">
                <a:solidFill>
                  <a:srgbClr val="009650"/>
                </a:solidFill>
                <a:latin typeface="Meiryo"/>
                <a:ea typeface="Meiryo"/>
                <a:cs typeface="Meiryo"/>
                <a:sym typeface="Meiryo"/>
              </a:rPr>
              <a:t>	</a:t>
            </a:r>
            <a:r>
              <a:rPr lang="en-US" altLang="ja-JP" sz="1800" b="1" i="0" u="none" strike="noStrike" cap="none">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登録</a:t>
            </a:r>
            <a:r>
              <a:rPr lang="ja-JP" sz="1800" b="1" dirty="0">
                <a:solidFill>
                  <a:schemeClr val="dk1"/>
                </a:solidFill>
                <a:latin typeface="Meiryo"/>
                <a:ea typeface="Meiryo"/>
                <a:cs typeface="Meiryo"/>
                <a:sym typeface="Meiryo"/>
              </a:rPr>
              <a:t>して次へ</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a:t>
            </a:r>
            <a:endParaRPr lang="en-US" altLang="ja-JP" sz="1800" b="1" i="0" u="none" strike="noStrike" cap="none"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55600" algn="l"/>
              </a:tabLst>
            </a:pPr>
            <a:r>
              <a:rPr lang="en-US" altLang="ja-JP" sz="1800" b="1" dirty="0">
                <a:solidFill>
                  <a:schemeClr val="dk1"/>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タップ</a:t>
            </a:r>
            <a:endParaRPr sz="1800" b="1" i="0" u="none" strike="noStrike" cap="none" dirty="0">
              <a:solidFill>
                <a:schemeClr val="dk1"/>
              </a:solidFill>
              <a:latin typeface="Meiryo"/>
              <a:ea typeface="Meiryo"/>
              <a:cs typeface="Meiryo"/>
              <a:sym typeface="Meiryo"/>
            </a:endParaRPr>
          </a:p>
          <a:p>
            <a:pPr marL="9525" marR="0" lvl="0" algn="l" rtl="0">
              <a:spcBef>
                <a:spcPts val="174"/>
              </a:spcBef>
              <a:spcAft>
                <a:spcPts val="0"/>
              </a:spcAft>
              <a:buClr>
                <a:srgbClr val="000000"/>
              </a:buClr>
              <a:buSzPts val="2400"/>
              <a:buFont typeface="Arial"/>
              <a:buNone/>
              <a:tabLst>
                <a:tab pos="355600" algn="l"/>
              </a:tabLst>
            </a:pPr>
            <a:endParaRPr sz="1800" b="1" dirty="0">
              <a:solidFill>
                <a:schemeClr val="dk1"/>
              </a:solidFill>
              <a:latin typeface="Meiryo"/>
              <a:ea typeface="Meiryo"/>
              <a:cs typeface="Meiryo"/>
              <a:sym typeface="Meiryo"/>
            </a:endParaRPr>
          </a:p>
          <a:p>
            <a:pPr marL="9525" marR="0" lvl="0" algn="l" rtl="0">
              <a:spcBef>
                <a:spcPts val="174"/>
              </a:spcBef>
              <a:spcAft>
                <a:spcPts val="0"/>
              </a:spcAft>
              <a:buNone/>
              <a:tabLst>
                <a:tab pos="355600" algn="l"/>
              </a:tabLst>
            </a:pPr>
            <a:endParaRPr sz="1800" b="1" i="0" u="none" strike="noStrike" cap="none" dirty="0">
              <a:solidFill>
                <a:schemeClr val="dk1"/>
              </a:solidFill>
              <a:latin typeface="Meiryo"/>
              <a:ea typeface="Meiryo"/>
              <a:cs typeface="Meiryo"/>
              <a:sym typeface="Meiryo"/>
            </a:endParaRPr>
          </a:p>
          <a:p>
            <a:pPr marL="9525" marR="4344" lvl="0" algn="l" rtl="0">
              <a:spcBef>
                <a:spcPts val="85"/>
              </a:spcBef>
              <a:spcAft>
                <a:spcPts val="0"/>
              </a:spcAft>
              <a:buClr>
                <a:srgbClr val="000000"/>
              </a:buClr>
              <a:buSzPts val="1800"/>
              <a:buFont typeface="Arial"/>
              <a:buNone/>
              <a:tabLst>
                <a:tab pos="355600" algn="l"/>
              </a:tabLst>
            </a:pPr>
            <a:endParaRPr sz="1800" b="1" i="0" u="none" strike="noStrike" cap="none" dirty="0">
              <a:solidFill>
                <a:schemeClr val="dk1"/>
              </a:solidFill>
              <a:latin typeface="Meiryo"/>
              <a:ea typeface="Meiryo"/>
              <a:cs typeface="Meiryo"/>
              <a:sym typeface="Meiryo"/>
            </a:endParaRPr>
          </a:p>
        </p:txBody>
      </p:sp>
      <p:sp>
        <p:nvSpPr>
          <p:cNvPr id="534" name="Google Shape;534;p14"/>
          <p:cNvSpPr/>
          <p:nvPr/>
        </p:nvSpPr>
        <p:spPr>
          <a:xfrm>
            <a:off x="2990825" y="3601995"/>
            <a:ext cx="1836000" cy="162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538" name="Google Shape;538;p14"/>
          <p:cNvSpPr/>
          <p:nvPr/>
        </p:nvSpPr>
        <p:spPr>
          <a:xfrm>
            <a:off x="6240006" y="5490434"/>
            <a:ext cx="1836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2"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9</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受診理由の入力</a:t>
            </a:r>
            <a:endParaRPr kumimoji="0" lang="ja-JP" altLang="en-US" sz="3200" b="0" kern="0" dirty="0"/>
          </a:p>
        </p:txBody>
      </p:sp>
      <p:grpSp>
        <p:nvGrpSpPr>
          <p:cNvPr id="29" name="図形グループ 28"/>
          <p:cNvGrpSpPr>
            <a:grpSpLocks noChangeAspect="1"/>
          </p:cNvGrpSpPr>
          <p:nvPr/>
        </p:nvGrpSpPr>
        <p:grpSpPr>
          <a:xfrm>
            <a:off x="5196435" y="3167090"/>
            <a:ext cx="720000" cy="540000"/>
            <a:chOff x="3355262" y="5469690"/>
            <a:chExt cx="720000" cy="540000"/>
          </a:xfrm>
        </p:grpSpPr>
        <p:cxnSp>
          <p:nvCxnSpPr>
            <p:cNvPr id="30" name="カギ線コネクタ 29"/>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2" name="図形グループ 31"/>
          <p:cNvGrpSpPr/>
          <p:nvPr/>
        </p:nvGrpSpPr>
        <p:grpSpPr>
          <a:xfrm>
            <a:off x="6088369" y="5344049"/>
            <a:ext cx="296586" cy="293005"/>
            <a:chOff x="3546641" y="3995693"/>
            <a:chExt cx="296586" cy="293005"/>
          </a:xfrm>
        </p:grpSpPr>
        <p:sp>
          <p:nvSpPr>
            <p:cNvPr id="33" name="円/楕円 3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フリーフォーム 3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5" name="図形グループ 34"/>
          <p:cNvGrpSpPr/>
          <p:nvPr/>
        </p:nvGrpSpPr>
        <p:grpSpPr>
          <a:xfrm>
            <a:off x="2843174" y="3453253"/>
            <a:ext cx="296587" cy="293005"/>
            <a:chOff x="2897417" y="3995693"/>
            <a:chExt cx="296587" cy="293005"/>
          </a:xfrm>
        </p:grpSpPr>
        <p:sp>
          <p:nvSpPr>
            <p:cNvPr id="36" name="円/楕円 3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551"/>
        <p:cNvGrpSpPr/>
        <p:nvPr/>
      </p:nvGrpSpPr>
      <p:grpSpPr>
        <a:xfrm>
          <a:off x="0" y="0"/>
          <a:ext cx="0" cy="0"/>
          <a:chOff x="0" y="0"/>
          <a:chExt cx="0" cy="0"/>
        </a:xfrm>
      </p:grpSpPr>
      <p:pic>
        <p:nvPicPr>
          <p:cNvPr id="3" name="図 2" descr="オンライン診療申込画面で住所を入力し、「登録して次へ」をタップしている画像"/>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99656" y="1986054"/>
            <a:ext cx="1707429" cy="4140000"/>
          </a:xfrm>
          <a:prstGeom prst="rect">
            <a:avLst/>
          </a:prstGeom>
          <a:ln w="9525">
            <a:solidFill>
              <a:schemeClr val="tx1">
                <a:lumMod val="50000"/>
                <a:lumOff val="50000"/>
              </a:schemeClr>
            </a:solidFill>
          </a:ln>
        </p:spPr>
      </p:pic>
      <p:pic>
        <p:nvPicPr>
          <p:cNvPr id="34" name="Google Shape;571;g142cf40d0f7_0_36"/>
          <p:cNvPicPr preferRelativeResize="0"/>
          <p:nvPr/>
        </p:nvPicPr>
        <p:blipFill>
          <a:blip r:embed="rId6">
            <a:clrChange>
              <a:clrFrom>
                <a:srgbClr val="F4F7FA"/>
              </a:clrFrom>
              <a:clrTo>
                <a:srgbClr val="F4F7FA">
                  <a:alpha val="0"/>
                </a:srgbClr>
              </a:clrTo>
            </a:clrChange>
            <a:alphaModFix/>
          </a:blip>
          <a:stretch>
            <a:fillRect/>
          </a:stretch>
        </p:blipFill>
        <p:spPr>
          <a:xfrm>
            <a:off x="6197149" y="5757748"/>
            <a:ext cx="1705198" cy="369801"/>
          </a:xfrm>
          <a:prstGeom prst="rect">
            <a:avLst/>
          </a:prstGeom>
          <a:noFill/>
          <a:ln>
            <a:noFill/>
          </a:ln>
        </p:spPr>
      </p:pic>
      <p:graphicFrame>
        <p:nvGraphicFramePr>
          <p:cNvPr id="2" name="オブジェクト 1" hidden="1">
            <a:extLst>
              <a:ext uri="{FF2B5EF4-FFF2-40B4-BE49-F238E27FC236}">
                <a16:creationId xmlns:a16="http://schemas.microsoft.com/office/drawing/2014/main" id="{2AF229BF-C551-4976-8BA6-44B2EBED1E04}"/>
              </a:ext>
            </a:extLst>
          </p:cNvPr>
          <p:cNvGraphicFramePr>
            <a:graphicFrameLocks noChangeAspect="1"/>
          </p:cNvGraphicFramePr>
          <p:nvPr>
            <p:custDataLst>
              <p:tags r:id="rId2"/>
            </p:custDataLst>
            <p:extLst>
              <p:ext uri="{D42A27DB-BD31-4B8C-83A1-F6EECF244321}">
                <p14:modId xmlns:p14="http://schemas.microsoft.com/office/powerpoint/2010/main" val="3224899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8" name="think-cell スライド" r:id="rId7" imgW="353" imgH="353" progId="TCLayout.ActiveDocument.1">
                  <p:embed/>
                </p:oleObj>
              </mc:Choice>
              <mc:Fallback>
                <p:oleObj name="think-cell スライド" r:id="rId7" imgW="353" imgH="35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52" name="Google Shape;552;g142cf40d0f7_0_36" descr="オンライン診療申込画面の受診者基本情報にある氏名、電話番号、生年月日、性別を入力している画像"/>
          <p:cNvPicPr preferRelativeResize="0">
            <a:picLocks noChangeAspect="1"/>
          </p:cNvPicPr>
          <p:nvPr/>
        </p:nvPicPr>
        <p:blipFill>
          <a:blip r:embed="rId9">
            <a:alphaModFix/>
          </a:blip>
          <a:stretch>
            <a:fillRect/>
          </a:stretch>
        </p:blipFill>
        <p:spPr>
          <a:xfrm>
            <a:off x="2950525" y="1991160"/>
            <a:ext cx="2057597"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555" name="Google Shape;555;g142cf40d0f7_0_36"/>
          <p:cNvSpPr txBox="1"/>
          <p:nvPr/>
        </p:nvSpPr>
        <p:spPr>
          <a:xfrm>
            <a:off x="323791" y="1905000"/>
            <a:ext cx="2520000" cy="1976808"/>
          </a:xfrm>
          <a:prstGeom prst="rect">
            <a:avLst/>
          </a:prstGeom>
          <a:noFill/>
          <a:ln>
            <a:noFill/>
          </a:ln>
        </p:spPr>
        <p:txBody>
          <a:bodyPr spcFirstLastPara="1" wrap="square" lIns="0" tIns="12050" rIns="0" bIns="0" anchor="t" anchorCtr="0">
            <a:spAutoFit/>
          </a:bodyPr>
          <a:lstStyle/>
          <a:p>
            <a:pPr marL="9525" marR="4343" lvl="0">
              <a:buSzPts val="2400"/>
              <a:tabLst>
                <a:tab pos="355600" algn="l"/>
              </a:tabLst>
            </a:pPr>
            <a:r>
              <a:rPr lang="ja-JP" sz="2400" b="1" i="0" u="none" strike="noStrike" cap="none" dirty="0">
                <a:solidFill>
                  <a:srgbClr val="009650"/>
                </a:solidFill>
                <a:latin typeface="Meiryo"/>
                <a:ea typeface="Meiryo"/>
                <a:cs typeface="Meiryo"/>
                <a:sym typeface="Meiryo"/>
              </a:rPr>
              <a:t>❶</a:t>
            </a:r>
            <a:r>
              <a:rPr lang="en-US" altLang="ja-JP" sz="2400" b="1" i="0" u="none" strike="noStrike" cap="none"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氏名</a:t>
            </a:r>
            <a:r>
              <a:rPr lang="ja-JP" altLang="ja-JP" sz="1800" b="1" spc="-500"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電話番号</a:t>
            </a:r>
            <a:r>
              <a:rPr lang="ja-JP" altLang="ja-JP" sz="1800" b="1" spc="-500" dirty="0">
                <a:solidFill>
                  <a:schemeClr val="dk1"/>
                </a:solidFill>
                <a:latin typeface="Meiryo"/>
                <a:ea typeface="Meiryo"/>
                <a:cs typeface="Meiryo"/>
                <a:sym typeface="Meiryo"/>
              </a:rPr>
              <a:t>、</a:t>
            </a:r>
            <a:endParaRPr lang="en-US" altLang="ja-JP" sz="1800" b="1" dirty="0">
              <a:solidFill>
                <a:schemeClr val="dk1"/>
              </a:solidFill>
              <a:latin typeface="Meiryo"/>
              <a:ea typeface="Meiryo"/>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生年月日</a:t>
            </a:r>
            <a:r>
              <a:rPr lang="ja-JP" sz="1800" b="1" spc="-500"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性別を</a:t>
            </a:r>
            <a:endParaRPr lang="en-US" altLang="ja-JP" sz="1800" b="1" dirty="0">
              <a:solidFill>
                <a:schemeClr val="dk1"/>
              </a:solidFill>
              <a:latin typeface="Meiryo"/>
              <a:ea typeface="Meiryo"/>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記入</a:t>
            </a:r>
            <a:endParaRPr sz="1800" b="1"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住所などを記入</a:t>
            </a:r>
            <a:endParaRPr sz="1800" b="1" i="0" u="none" strike="noStrike" cap="none" dirty="0">
              <a:solidFill>
                <a:schemeClr val="dk1"/>
              </a:solidFill>
              <a:latin typeface="Meiryo"/>
              <a:ea typeface="Meiryo"/>
              <a:cs typeface="Meiryo"/>
              <a:sym typeface="Meiryo"/>
            </a:endParaRPr>
          </a:p>
          <a:p>
            <a:pPr marL="9525" marR="4343" lvl="0" algn="l" rtl="0">
              <a:spcBef>
                <a:spcPts val="85"/>
              </a:spcBef>
              <a:spcAft>
                <a:spcPts val="0"/>
              </a:spcAft>
              <a:buClr>
                <a:schemeClr val="dk1"/>
              </a:buClr>
              <a:buSzPts val="2400"/>
              <a:buFont typeface="Arial"/>
              <a:buNone/>
              <a:tabLst>
                <a:tab pos="355600" algn="l"/>
              </a:tabLst>
            </a:pPr>
            <a:r>
              <a:rPr lang="ja-JP" sz="2400" b="1">
                <a:solidFill>
                  <a:srgbClr val="009650"/>
                </a:solidFill>
                <a:latin typeface="Meiryo"/>
                <a:ea typeface="Meiryo"/>
                <a:cs typeface="Meiryo"/>
                <a:sym typeface="Meiryo"/>
              </a:rPr>
              <a:t>❸</a:t>
            </a:r>
            <a:r>
              <a:rPr lang="en-US" altLang="ja-JP" sz="2400" b="1">
                <a:solidFill>
                  <a:srgbClr val="009650"/>
                </a:solidFill>
                <a:latin typeface="Meiryo"/>
                <a:ea typeface="Meiryo"/>
                <a:cs typeface="Meiryo"/>
                <a:sym typeface="Meiryo"/>
              </a:rPr>
              <a:t>	</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登録</a:t>
            </a:r>
            <a:r>
              <a:rPr lang="ja-JP" sz="1800" b="1" dirty="0">
                <a:solidFill>
                  <a:schemeClr val="dk1"/>
                </a:solidFill>
                <a:latin typeface="Meiryo"/>
                <a:ea typeface="Meiryo"/>
                <a:cs typeface="Meiryo"/>
                <a:sym typeface="Meiryo"/>
              </a:rPr>
              <a:t>して次へ</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a:t>
            </a:r>
            <a:endParaRPr lang="en-US" altLang="ja-JP" sz="1800" b="1" dirty="0">
              <a:solidFill>
                <a:schemeClr val="dk1"/>
              </a:solidFill>
              <a:latin typeface="Meiryo"/>
              <a:ea typeface="Meiryo"/>
              <a:cs typeface="Meiryo"/>
              <a:sym typeface="Meiryo"/>
            </a:endParaRPr>
          </a:p>
          <a:p>
            <a:pPr marL="9525" marR="4343" lvl="0" algn="l" rtl="0">
              <a:spcBef>
                <a:spcPts val="85"/>
              </a:spcBef>
              <a:spcAft>
                <a:spcPts val="0"/>
              </a:spcAft>
              <a:buClr>
                <a:schemeClr val="dk1"/>
              </a:buClr>
              <a:buSzPts val="2400"/>
              <a:buFont typeface="Arial"/>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タップ</a:t>
            </a:r>
            <a:endParaRPr sz="1800" b="1" i="0" u="none" strike="noStrike" cap="none" dirty="0">
              <a:solidFill>
                <a:schemeClr val="dk1"/>
              </a:solidFill>
              <a:latin typeface="Meiryo"/>
              <a:ea typeface="Meiryo"/>
              <a:cs typeface="Meiryo"/>
              <a:sym typeface="Meiryo"/>
            </a:endParaRPr>
          </a:p>
        </p:txBody>
      </p:sp>
      <p:sp>
        <p:nvSpPr>
          <p:cNvPr id="556" name="Google Shape;556;g142cf40d0f7_0_36"/>
          <p:cNvSpPr txBox="1"/>
          <p:nvPr/>
        </p:nvSpPr>
        <p:spPr>
          <a:xfrm>
            <a:off x="2950525" y="1678507"/>
            <a:ext cx="1836000" cy="226500"/>
          </a:xfrm>
          <a:prstGeom prst="rect">
            <a:avLst/>
          </a:prstGeom>
          <a:noFill/>
          <a:ln>
            <a:noFill/>
          </a:ln>
        </p:spPr>
        <p:txBody>
          <a:bodyPr spcFirstLastPara="1" wrap="square" lIns="0" tIns="10850" rIns="0" bIns="0" anchor="t" anchorCtr="0">
            <a:spAutoFit/>
          </a:bodyPr>
          <a:lstStyle/>
          <a:p>
            <a:pPr marL="10859" marR="0" lvl="0" indent="0" algn="l" rtl="0">
              <a:lnSpc>
                <a:spcPct val="100000"/>
              </a:lnSpc>
              <a:spcBef>
                <a:spcPts val="0"/>
              </a:spcBef>
              <a:spcAft>
                <a:spcPts val="0"/>
              </a:spcAft>
              <a:buClr>
                <a:srgbClr val="000000"/>
              </a:buClr>
              <a:buSzPts val="1400"/>
              <a:buFont typeface="Arial"/>
              <a:buNone/>
            </a:pPr>
            <a:r>
              <a:rPr lang="ja-JP" b="1">
                <a:solidFill>
                  <a:srgbClr val="009650"/>
                </a:solidFill>
                <a:latin typeface="Meiryo"/>
                <a:ea typeface="Meiryo"/>
                <a:cs typeface="Meiryo"/>
                <a:sym typeface="Meiryo"/>
              </a:rPr>
              <a:t>受診者情報の入力</a:t>
            </a:r>
            <a:endParaRPr sz="1400" b="1" i="0" u="none" strike="noStrike" cap="none">
              <a:solidFill>
                <a:srgbClr val="009650"/>
              </a:solidFill>
              <a:latin typeface="Meiryo"/>
              <a:ea typeface="Meiryo"/>
              <a:cs typeface="Meiryo"/>
              <a:sym typeface="Meiryo"/>
            </a:endParaRPr>
          </a:p>
        </p:txBody>
      </p:sp>
      <p:sp>
        <p:nvSpPr>
          <p:cNvPr id="558" name="Google Shape;558;g142cf40d0f7_0_36"/>
          <p:cNvSpPr/>
          <p:nvPr/>
        </p:nvSpPr>
        <p:spPr>
          <a:xfrm>
            <a:off x="2989270" y="3326005"/>
            <a:ext cx="1944000" cy="277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562" name="Google Shape;562;g142cf40d0f7_0_36"/>
          <p:cNvSpPr/>
          <p:nvPr/>
        </p:nvSpPr>
        <p:spPr>
          <a:xfrm>
            <a:off x="6235937" y="2029917"/>
            <a:ext cx="1620000" cy="306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572" name="Google Shape;572;g142cf40d0f7_0_36"/>
          <p:cNvSpPr/>
          <p:nvPr/>
        </p:nvSpPr>
        <p:spPr>
          <a:xfrm>
            <a:off x="6235937" y="5788773"/>
            <a:ext cx="1620000"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7"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0</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受診者情報の入力</a:t>
            </a:r>
            <a:endParaRPr kumimoji="0" lang="ja-JP" altLang="en-US" sz="3200" b="0" kern="0" dirty="0"/>
          </a:p>
        </p:txBody>
      </p:sp>
      <p:grpSp>
        <p:nvGrpSpPr>
          <p:cNvPr id="28" name="図形グループ 27"/>
          <p:cNvGrpSpPr>
            <a:grpSpLocks noChangeAspect="1"/>
          </p:cNvGrpSpPr>
          <p:nvPr/>
        </p:nvGrpSpPr>
        <p:grpSpPr>
          <a:xfrm>
            <a:off x="5196435" y="3167090"/>
            <a:ext cx="720000" cy="540000"/>
            <a:chOff x="3355262" y="5469690"/>
            <a:chExt cx="720000" cy="540000"/>
          </a:xfrm>
        </p:grpSpPr>
        <p:cxnSp>
          <p:nvCxnSpPr>
            <p:cNvPr id="29" name="カギ線コネクタ 2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5" name="図形グループ 34"/>
          <p:cNvGrpSpPr/>
          <p:nvPr/>
        </p:nvGrpSpPr>
        <p:grpSpPr>
          <a:xfrm>
            <a:off x="6090099" y="5637865"/>
            <a:ext cx="296586" cy="293005"/>
            <a:chOff x="4232441" y="3995693"/>
            <a:chExt cx="296586" cy="293005"/>
          </a:xfrm>
        </p:grpSpPr>
        <p:sp>
          <p:nvSpPr>
            <p:cNvPr id="36" name="円/楕円 3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3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8" name="図形グループ 37"/>
          <p:cNvGrpSpPr/>
          <p:nvPr/>
        </p:nvGrpSpPr>
        <p:grpSpPr>
          <a:xfrm>
            <a:off x="6090099" y="1884851"/>
            <a:ext cx="296586" cy="293005"/>
            <a:chOff x="3546641" y="3995693"/>
            <a:chExt cx="296586" cy="293005"/>
          </a:xfrm>
        </p:grpSpPr>
        <p:sp>
          <p:nvSpPr>
            <p:cNvPr id="39" name="円/楕円 3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図形グループ 40"/>
          <p:cNvGrpSpPr/>
          <p:nvPr/>
        </p:nvGrpSpPr>
        <p:grpSpPr>
          <a:xfrm>
            <a:off x="2845334" y="3185471"/>
            <a:ext cx="296587" cy="293005"/>
            <a:chOff x="2897417" y="3995693"/>
            <a:chExt cx="296587" cy="293005"/>
          </a:xfrm>
        </p:grpSpPr>
        <p:sp>
          <p:nvSpPr>
            <p:cNvPr id="42" name="円/楕円 4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テキスト ボックス 4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71"/>
        <p:cNvGrpSpPr/>
        <p:nvPr/>
      </p:nvGrpSpPr>
      <p:grpSpPr>
        <a:xfrm>
          <a:off x="0" y="0"/>
          <a:ext cx="0" cy="0"/>
          <a:chOff x="0" y="0"/>
          <a:chExt cx="0" cy="0"/>
        </a:xfrm>
      </p:grpSpPr>
      <p:sp>
        <p:nvSpPr>
          <p:cNvPr id="11" name="正方形/長方形 10"/>
          <p:cNvSpPr/>
          <p:nvPr/>
        </p:nvSpPr>
        <p:spPr>
          <a:xfrm>
            <a:off x="607062" y="2520408"/>
            <a:ext cx="7920000" cy="288000"/>
          </a:xfrm>
          <a:prstGeom prst="rect">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aphicFrame>
        <p:nvGraphicFramePr>
          <p:cNvPr id="3" name="オブジェクト 2" hidden="1">
            <a:extLst>
              <a:ext uri="{FF2B5EF4-FFF2-40B4-BE49-F238E27FC236}">
                <a16:creationId xmlns:a16="http://schemas.microsoft.com/office/drawing/2014/main" id="{F0FBA7A5-09C1-437B-B42F-BE7C950880A0}"/>
              </a:ext>
            </a:extLst>
          </p:cNvPr>
          <p:cNvGraphicFramePr>
            <a:graphicFrameLocks noChangeAspect="1"/>
          </p:cNvGraphicFramePr>
          <p:nvPr>
            <p:custDataLst>
              <p:tags r:id="rId2"/>
            </p:custDataLst>
            <p:extLst>
              <p:ext uri="{D42A27DB-BD31-4B8C-83A1-F6EECF244321}">
                <p14:modId xmlns:p14="http://schemas.microsoft.com/office/powerpoint/2010/main" val="3220701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3"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3" name="Google Shape;73;p3"/>
          <p:cNvSpPr txBox="1"/>
          <p:nvPr/>
        </p:nvSpPr>
        <p:spPr>
          <a:xfrm>
            <a:off x="562212" y="1422970"/>
            <a:ext cx="7920000" cy="867601"/>
          </a:xfrm>
          <a:prstGeom prst="rect">
            <a:avLst/>
          </a:prstGeom>
          <a:noFill/>
          <a:ln>
            <a:noFill/>
          </a:ln>
        </p:spPr>
        <p:txBody>
          <a:bodyPr spcFirstLastPara="1" wrap="square" lIns="0" tIns="10850" rIns="0" bIns="0" anchor="t" anchorCtr="0">
            <a:spAutoFit/>
          </a:bodyPr>
          <a:lstStyle/>
          <a:p>
            <a:pPr marL="10860" marR="4344" lvl="0" indent="36381" algn="just" rtl="0">
              <a:spcBef>
                <a:spcPts val="0"/>
              </a:spcBef>
              <a:spcAft>
                <a:spcPts val="0"/>
              </a:spcAft>
              <a:buClr>
                <a:srgbClr val="000000"/>
              </a:buClr>
              <a:buSzPts val="1800"/>
              <a:buFont typeface="Arial"/>
              <a:buNone/>
            </a:pPr>
            <a:r>
              <a:rPr lang="ja-JP" sz="1800" b="1" i="0" u="none" strike="noStrike" cap="none" dirty="0">
                <a:solidFill>
                  <a:srgbClr val="009650"/>
                </a:solidFill>
                <a:latin typeface="Meiryo"/>
                <a:ea typeface="Meiryo"/>
                <a:cs typeface="Meiryo"/>
                <a:sym typeface="Meiryo"/>
              </a:rPr>
              <a:t>Androidの場合</a:t>
            </a:r>
            <a:endParaRPr sz="1800" b="0" i="0" u="none" strike="noStrike" cap="none" dirty="0">
              <a:solidFill>
                <a:srgbClr val="000000"/>
              </a:solidFill>
              <a:sym typeface="Arial"/>
            </a:endParaRPr>
          </a:p>
          <a:p>
            <a:pPr marL="10860" marR="4344" lvl="0" indent="36381" algn="just" rtl="0">
              <a:spcBef>
                <a:spcPts val="85"/>
              </a:spcBef>
              <a:spcAft>
                <a:spcPts val="0"/>
              </a:spcAft>
              <a:buNone/>
            </a:pPr>
            <a:r>
              <a:rPr lang="en-US" altLang="ja-JP" sz="1800" b="1" i="0" u="none" strike="noStrike" cap="none">
                <a:solidFill>
                  <a:schemeClr val="dk1"/>
                </a:solidFill>
                <a:latin typeface="Meiryo"/>
                <a:ea typeface="Meiryo"/>
                <a:cs typeface="Meiryo"/>
                <a:sym typeface="Meiryo"/>
              </a:rPr>
              <a:t>｢</a:t>
            </a:r>
            <a:r>
              <a:rPr lang="ja-JP" sz="1800" b="1" i="0" u="none" strike="noStrike" cap="none">
                <a:solidFill>
                  <a:schemeClr val="dk1"/>
                </a:solidFill>
                <a:latin typeface="Meiryo"/>
                <a:ea typeface="Meiryo"/>
                <a:cs typeface="Meiryo"/>
                <a:sym typeface="Meiryo"/>
              </a:rPr>
              <a:t>Play</a:t>
            </a:r>
            <a:r>
              <a:rPr lang="ja-JP" sz="1800" b="1" i="0" u="none" strike="noStrike" cap="none" dirty="0">
                <a:solidFill>
                  <a:schemeClr val="dk1"/>
                </a:solidFill>
                <a:latin typeface="Meiryo"/>
                <a:ea typeface="Meiryo"/>
                <a:cs typeface="Meiryo"/>
                <a:sym typeface="Meiryo"/>
              </a:rPr>
              <a:t>ストア</a:t>
            </a:r>
            <a:r>
              <a:rPr lang="en-US" altLang="ja-JP" sz="1800" b="1" i="0" u="none" strike="noStrike" cap="none">
                <a:solidFill>
                  <a:schemeClr val="dk1"/>
                </a:solidFill>
                <a:latin typeface="Meiryo"/>
                <a:ea typeface="Meiryo"/>
                <a:cs typeface="Meiryo"/>
                <a:sym typeface="Meiryo"/>
              </a:rPr>
              <a:t>｣</a:t>
            </a:r>
            <a:r>
              <a:rPr lang="ja-JP" sz="1800" b="1" i="0" u="none" strike="noStrike" cap="none">
                <a:solidFill>
                  <a:schemeClr val="dk1"/>
                </a:solidFill>
                <a:latin typeface="Meiryo"/>
                <a:ea typeface="Meiryo"/>
                <a:cs typeface="Meiryo"/>
                <a:sym typeface="Meiryo"/>
              </a:rPr>
              <a:t>で</a:t>
            </a:r>
            <a:r>
              <a:rPr lang="en-US" altLang="ja-JP" sz="1800" b="1" i="0" u="none" strike="noStrike" cap="none">
                <a:solidFill>
                  <a:schemeClr val="dk1"/>
                </a:solidFill>
                <a:latin typeface="Meiryo"/>
                <a:ea typeface="Meiryo"/>
                <a:cs typeface="Meiryo"/>
                <a:sym typeface="Meiryo"/>
              </a:rPr>
              <a:t>｢</a:t>
            </a:r>
            <a:r>
              <a:rPr lang="ja-JP" sz="1800" b="1" i="0" u="none" strike="noStrike" cap="none">
                <a:solidFill>
                  <a:schemeClr val="dk1"/>
                </a:solidFill>
                <a:latin typeface="Meiryo"/>
                <a:ea typeface="Meiryo"/>
                <a:cs typeface="Meiryo"/>
                <a:sym typeface="Meiryo"/>
              </a:rPr>
              <a:t>クロン</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と検索してアプリを見つけて</a:t>
            </a:r>
            <a:endParaRPr lang="en-US" altLang="ja-JP" sz="1800" b="1" i="0" u="none" strike="noStrike" cap="none" dirty="0">
              <a:solidFill>
                <a:schemeClr val="dk1"/>
              </a:solidFill>
              <a:latin typeface="Meiryo"/>
              <a:ea typeface="Meiryo"/>
              <a:cs typeface="Meiryo"/>
              <a:sym typeface="Meiryo"/>
            </a:endParaRPr>
          </a:p>
          <a:p>
            <a:pPr marL="10860" marR="4344" lvl="0" indent="36381" algn="just" rtl="0">
              <a:spcBef>
                <a:spcPts val="85"/>
              </a:spcBef>
              <a:spcAft>
                <a:spcPts val="0"/>
              </a:spcAft>
              <a:buNone/>
            </a:pPr>
            <a:r>
              <a:rPr lang="ja-JP" sz="1800" b="1" i="0" u="none" strike="noStrike" cap="none" dirty="0">
                <a:solidFill>
                  <a:schemeClr val="dk1"/>
                </a:solidFill>
                <a:latin typeface="Meiryo"/>
                <a:ea typeface="Meiryo"/>
                <a:cs typeface="Meiryo"/>
                <a:sym typeface="Meiryo"/>
              </a:rPr>
              <a:t>インストールして下さい。</a:t>
            </a:r>
            <a:endParaRPr sz="1800" b="1" i="0" u="none" strike="noStrike" cap="none" dirty="0">
              <a:solidFill>
                <a:schemeClr val="dk1"/>
              </a:solidFill>
              <a:latin typeface="Meiryo"/>
              <a:ea typeface="Meiryo"/>
              <a:cs typeface="Meiryo"/>
              <a:sym typeface="Meiryo"/>
            </a:endParaRPr>
          </a:p>
        </p:txBody>
      </p:sp>
      <p:sp>
        <p:nvSpPr>
          <p:cNvPr id="74" name="Google Shape;74;p3"/>
          <p:cNvSpPr txBox="1"/>
          <p:nvPr/>
        </p:nvSpPr>
        <p:spPr>
          <a:xfrm>
            <a:off x="609599" y="4852439"/>
            <a:ext cx="7920000" cy="1118952"/>
          </a:xfrm>
          <a:prstGeom prst="rect">
            <a:avLst/>
          </a:prstGeom>
          <a:noFill/>
          <a:ln>
            <a:noFill/>
          </a:ln>
        </p:spPr>
        <p:txBody>
          <a:bodyPr spcFirstLastPara="1" wrap="square" lIns="0" tIns="10850" rIns="0" bIns="0" anchor="t" anchorCtr="0">
            <a:spAutoFit/>
          </a:bodyPr>
          <a:lstStyle/>
          <a:p>
            <a:pPr marL="10860" marR="4344" lvl="0" indent="0" algn="l" rtl="0">
              <a:spcBef>
                <a:spcPts val="0"/>
              </a:spcBef>
              <a:spcAft>
                <a:spcPts val="0"/>
              </a:spcAft>
              <a:buNone/>
            </a:pPr>
            <a:r>
              <a:rPr lang="ja-JP" sz="1800" b="1" i="0" u="none" strike="noStrike" cap="none" dirty="0">
                <a:solidFill>
                  <a:srgbClr val="009650"/>
                </a:solidFill>
                <a:latin typeface="Meiryo"/>
                <a:ea typeface="Meiryo"/>
                <a:cs typeface="Meiryo"/>
                <a:sym typeface="Meiryo"/>
              </a:rPr>
              <a:t>iPhoneの場合</a:t>
            </a:r>
            <a:endParaRPr sz="1800" b="0" i="0" u="none" strike="noStrike" cap="none" dirty="0">
              <a:solidFill>
                <a:srgbClr val="000000"/>
              </a:solidFill>
              <a:sym typeface="Arial"/>
            </a:endParaRPr>
          </a:p>
          <a:p>
            <a:pPr marL="10860" marR="4344" lvl="0" indent="0" algn="l" rtl="0">
              <a:spcBef>
                <a:spcPts val="0"/>
              </a:spcBef>
              <a:spcAft>
                <a:spcPts val="0"/>
              </a:spcAft>
              <a:buNone/>
            </a:pPr>
            <a:r>
              <a:rPr lang="ja-JP" sz="1800" b="1" i="0" u="none" strike="noStrike" cap="none">
                <a:solidFill>
                  <a:schemeClr val="dk1"/>
                </a:solidFill>
                <a:latin typeface="Meiryo"/>
                <a:ea typeface="Meiryo"/>
                <a:cs typeface="Meiryo"/>
                <a:sym typeface="Meiryo"/>
              </a:rPr>
              <a:t>同様に</a:t>
            </a:r>
            <a:r>
              <a:rPr lang="en-US" altLang="ja-JP" sz="1800" b="1" i="0" u="none" strike="noStrike" cap="none">
                <a:solidFill>
                  <a:schemeClr val="dk1"/>
                </a:solidFill>
                <a:latin typeface="Meiryo"/>
                <a:ea typeface="Meiryo"/>
                <a:cs typeface="Meiryo"/>
                <a:sym typeface="Meiryo"/>
              </a:rPr>
              <a:t>｢</a:t>
            </a:r>
            <a:r>
              <a:rPr lang="ja-JP" sz="1800" b="1" i="0" u="none" strike="noStrike" cap="none">
                <a:solidFill>
                  <a:schemeClr val="dk1"/>
                </a:solidFill>
                <a:latin typeface="Meiryo"/>
                <a:ea typeface="Meiryo"/>
                <a:cs typeface="Meiryo"/>
                <a:sym typeface="Meiryo"/>
              </a:rPr>
              <a:t>App </a:t>
            </a:r>
            <a:r>
              <a:rPr lang="ja-JP" sz="1800" b="1" i="0" u="none" strike="noStrike" cap="none" dirty="0">
                <a:solidFill>
                  <a:schemeClr val="dk1"/>
                </a:solidFill>
                <a:latin typeface="Meiryo"/>
                <a:ea typeface="Meiryo"/>
                <a:cs typeface="Meiryo"/>
                <a:sym typeface="Meiryo"/>
              </a:rPr>
              <a:t>Store</a:t>
            </a:r>
            <a:r>
              <a:rPr lang="en-US" altLang="ja-JP" sz="1800" b="1" i="0" u="none" strike="noStrike" cap="none">
                <a:solidFill>
                  <a:schemeClr val="dk1"/>
                </a:solidFill>
                <a:latin typeface="Meiryo"/>
                <a:ea typeface="Meiryo"/>
                <a:cs typeface="Meiryo"/>
                <a:sym typeface="Meiryo"/>
              </a:rPr>
              <a:t>｣</a:t>
            </a:r>
            <a:r>
              <a:rPr lang="ja-JP" sz="1800" b="1" i="0" u="none" strike="noStrike" cap="none">
                <a:solidFill>
                  <a:schemeClr val="dk1"/>
                </a:solidFill>
                <a:latin typeface="Meiryo"/>
                <a:ea typeface="Meiryo"/>
                <a:cs typeface="Meiryo"/>
                <a:sym typeface="Meiryo"/>
              </a:rPr>
              <a:t>から</a:t>
            </a:r>
            <a:r>
              <a:rPr lang="en-US" altLang="ja-JP" sz="1800" b="1" i="0" u="none" strike="noStrike" cap="none">
                <a:solidFill>
                  <a:schemeClr val="dk1"/>
                </a:solidFill>
                <a:latin typeface="Meiryo"/>
                <a:ea typeface="Meiryo"/>
                <a:cs typeface="Meiryo"/>
                <a:sym typeface="Meiryo"/>
              </a:rPr>
              <a:t>｢</a:t>
            </a:r>
            <a:r>
              <a:rPr lang="ja-JP" sz="1800" b="1" i="0" u="none" strike="noStrike" cap="none">
                <a:solidFill>
                  <a:schemeClr val="dk1"/>
                </a:solidFill>
                <a:latin typeface="Meiryo"/>
                <a:ea typeface="Meiryo"/>
                <a:cs typeface="Meiryo"/>
                <a:sym typeface="Meiryo"/>
              </a:rPr>
              <a:t>クロン</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と検索してアプリを見つけて</a:t>
            </a:r>
            <a:endParaRPr sz="1800" b="1" i="0" u="none" strike="noStrike" cap="none" dirty="0">
              <a:solidFill>
                <a:schemeClr val="dk1"/>
              </a:solidFill>
              <a:latin typeface="Meiryo"/>
              <a:ea typeface="Meiryo"/>
              <a:cs typeface="Meiryo"/>
              <a:sym typeface="Meiryo"/>
            </a:endParaRPr>
          </a:p>
          <a:p>
            <a:pPr marL="10859" marR="4343" lvl="0" indent="0" algn="l" rtl="0">
              <a:spcBef>
                <a:spcPts val="0"/>
              </a:spcBef>
              <a:spcAft>
                <a:spcPts val="0"/>
              </a:spcAft>
              <a:buClr>
                <a:srgbClr val="000000"/>
              </a:buClr>
              <a:buSzPts val="1800"/>
              <a:buFont typeface="Arial"/>
              <a:buNone/>
            </a:pPr>
            <a:r>
              <a:rPr lang="ja-JP" sz="1800" b="1" i="0" u="none" strike="noStrike" cap="none" dirty="0">
                <a:solidFill>
                  <a:schemeClr val="dk1"/>
                </a:solidFill>
                <a:latin typeface="Meiryo"/>
                <a:ea typeface="Meiryo"/>
                <a:cs typeface="Meiryo"/>
                <a:sym typeface="Meiryo"/>
              </a:rPr>
              <a:t>インストールしてください。</a:t>
            </a:r>
            <a:endParaRPr lang="en-US" altLang="ja-JP" sz="1800" b="1" i="0" u="none" strike="noStrike" cap="none" dirty="0">
              <a:solidFill>
                <a:schemeClr val="dk1"/>
              </a:solidFill>
              <a:latin typeface="Meiryo"/>
              <a:ea typeface="Meiryo"/>
              <a:cs typeface="Meiryo"/>
              <a:sym typeface="Meiryo"/>
            </a:endParaRPr>
          </a:p>
          <a:p>
            <a:pPr marL="10859" marR="4343" lvl="0">
              <a:buSzPts val="1800"/>
            </a:pPr>
            <a:r>
              <a:rPr lang="ja-JP" sz="1800" b="1" i="0" u="none" strike="noStrike" cap="none" dirty="0">
                <a:solidFill>
                  <a:schemeClr val="dk1"/>
                </a:solidFill>
                <a:latin typeface="Meiryo"/>
                <a:ea typeface="Meiryo"/>
                <a:cs typeface="Meiryo"/>
                <a:sym typeface="Meiryo"/>
              </a:rPr>
              <a:t>OS12.0以上のiPhone</a:t>
            </a:r>
            <a:r>
              <a:rPr lang="ja-JP" sz="1800" b="1" i="0" u="none" strike="noStrike" cap="none" spc="-750"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iPad</a:t>
            </a:r>
            <a:r>
              <a:rPr lang="ja-JP" altLang="ja-JP" sz="1800" b="1" spc="-750" dirty="0">
                <a:solidFill>
                  <a:schemeClr val="dk1"/>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およびiPod touchに対応しています。</a:t>
            </a:r>
            <a:endParaRPr sz="1800" b="0" i="0" u="none" strike="noStrike" cap="none" dirty="0">
              <a:solidFill>
                <a:srgbClr val="000000"/>
              </a:solidFill>
              <a:sym typeface="Arial"/>
            </a:endParaRPr>
          </a:p>
        </p:txBody>
      </p:sp>
      <p:graphicFrame>
        <p:nvGraphicFramePr>
          <p:cNvPr id="75" name="Google Shape;75;p3"/>
          <p:cNvGraphicFramePr/>
          <p:nvPr>
            <p:extLst>
              <p:ext uri="{D42A27DB-BD31-4B8C-83A1-F6EECF244321}">
                <p14:modId xmlns:p14="http://schemas.microsoft.com/office/powerpoint/2010/main" val="523904935"/>
              </p:ext>
            </p:extLst>
          </p:nvPr>
        </p:nvGraphicFramePr>
        <p:xfrm>
          <a:off x="619872" y="2510398"/>
          <a:ext cx="7920000" cy="2070371"/>
        </p:xfrm>
        <a:graphic>
          <a:graphicData uri="http://schemas.openxmlformats.org/drawingml/2006/table">
            <a:tbl>
              <a:tblPr>
                <a:noFill/>
                <a:tableStyleId>{B1BD85FD-087A-4BF6-AAD6-227F6B3F6105}</a:tableStyleId>
              </a:tblPr>
              <a:tblGrid>
                <a:gridCol w="1761579">
                  <a:extLst>
                    <a:ext uri="{9D8B030D-6E8A-4147-A177-3AD203B41FA5}">
                      <a16:colId xmlns:a16="http://schemas.microsoft.com/office/drawing/2014/main" val="20000"/>
                    </a:ext>
                  </a:extLst>
                </a:gridCol>
                <a:gridCol w="4108549">
                  <a:extLst>
                    <a:ext uri="{9D8B030D-6E8A-4147-A177-3AD203B41FA5}">
                      <a16:colId xmlns:a16="http://schemas.microsoft.com/office/drawing/2014/main" val="20001"/>
                    </a:ext>
                  </a:extLst>
                </a:gridCol>
                <a:gridCol w="2049872">
                  <a:extLst>
                    <a:ext uri="{9D8B030D-6E8A-4147-A177-3AD203B41FA5}">
                      <a16:colId xmlns:a16="http://schemas.microsoft.com/office/drawing/2014/main" val="20002"/>
                    </a:ext>
                  </a:extLst>
                </a:gridCol>
              </a:tblGrid>
              <a:tr h="304721">
                <a:tc>
                  <a:txBody>
                    <a:bodyPr/>
                    <a:lstStyle/>
                    <a:p>
                      <a:pPr marL="177800" marR="0" lvl="0" indent="-85725" algn="l" rtl="0">
                        <a:lnSpc>
                          <a:spcPct val="100000"/>
                        </a:lnSpc>
                        <a:spcBef>
                          <a:spcPts val="0"/>
                        </a:spcBef>
                        <a:spcAft>
                          <a:spcPts val="0"/>
                        </a:spcAft>
                        <a:buClr>
                          <a:srgbClr val="000000"/>
                        </a:buClr>
                        <a:buSzPts val="1200"/>
                        <a:buFont typeface="Arial"/>
                        <a:buNone/>
                        <a:tabLst/>
                      </a:pPr>
                      <a:r>
                        <a:rPr lang="ja-JP" sz="1200" b="1" i="0" u="none" strike="noStrike" cap="none">
                          <a:latin typeface="Meiryo" charset="-128"/>
                          <a:ea typeface="Meiryo" charset="-128"/>
                          <a:cs typeface="Meiryo" charset="-128"/>
                          <a:sym typeface="Meiryo"/>
                        </a:rPr>
                        <a:t>アイコン</a:t>
                      </a:r>
                      <a:endParaRPr sz="1200" b="1" i="0" u="none" strike="noStrike" cap="none">
                        <a:latin typeface="Meiryo" charset="-128"/>
                        <a:ea typeface="Meiryo" charset="-128"/>
                        <a:cs typeface="Meiryo" charset="-128"/>
                        <a:sym typeface="Meiryo"/>
                      </a:endParaRPr>
                    </a:p>
                  </a:txBody>
                  <a:tcPr marL="0" marR="0" marT="43975" marB="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914400" marR="0" lvl="0" indent="-822325" algn="l" rtl="0">
                        <a:lnSpc>
                          <a:spcPct val="100000"/>
                        </a:lnSpc>
                        <a:spcBef>
                          <a:spcPts val="0"/>
                        </a:spcBef>
                        <a:spcAft>
                          <a:spcPts val="0"/>
                        </a:spcAft>
                        <a:buClr>
                          <a:srgbClr val="000000"/>
                        </a:buClr>
                        <a:buSzPts val="1200"/>
                        <a:buFont typeface="Arial"/>
                        <a:buNone/>
                        <a:tabLst/>
                      </a:pPr>
                      <a:r>
                        <a:rPr lang="ja-JP" sz="1200" b="1" i="0" u="none" strike="noStrike" cap="none">
                          <a:latin typeface="Meiryo" charset="-128"/>
                          <a:ea typeface="Meiryo" charset="-128"/>
                          <a:cs typeface="Meiryo" charset="-128"/>
                          <a:sym typeface="Meiryo"/>
                        </a:rPr>
                        <a:t>概要</a:t>
                      </a:r>
                      <a:endParaRPr sz="1200" b="1" i="0" u="none" strike="noStrike" cap="none">
                        <a:latin typeface="Meiryo" charset="-128"/>
                        <a:ea typeface="Meiryo" charset="-128"/>
                        <a:cs typeface="Meiryo" charset="-128"/>
                        <a:sym typeface="Meiryo"/>
                      </a:endParaRPr>
                    </a:p>
                  </a:txBody>
                  <a:tcPr marL="0" marR="0" marT="43975" marB="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290513" marR="0" lvl="0" indent="-198438" algn="l" rtl="0">
                        <a:lnSpc>
                          <a:spcPct val="100000"/>
                        </a:lnSpc>
                        <a:spcBef>
                          <a:spcPts val="0"/>
                        </a:spcBef>
                        <a:spcAft>
                          <a:spcPts val="0"/>
                        </a:spcAft>
                        <a:buClr>
                          <a:srgbClr val="000000"/>
                        </a:buClr>
                        <a:buSzPts val="1200"/>
                        <a:buFont typeface="Arial"/>
                        <a:buNone/>
                        <a:tabLst/>
                      </a:pPr>
                      <a:r>
                        <a:rPr lang="ja-JP" sz="1200" b="1" i="0" u="none" strike="noStrike" cap="none">
                          <a:latin typeface="Meiryo" charset="-128"/>
                          <a:ea typeface="Meiryo" charset="-128"/>
                          <a:cs typeface="Meiryo" charset="-128"/>
                          <a:sym typeface="Meiryo"/>
                        </a:rPr>
                        <a:t>アプリ</a:t>
                      </a:r>
                      <a:endParaRPr sz="1200" b="1" i="0" u="none" strike="noStrike" cap="none">
                        <a:latin typeface="Meiryo" charset="-128"/>
                        <a:ea typeface="Meiryo" charset="-128"/>
                        <a:cs typeface="Meiryo" charset="-128"/>
                        <a:sym typeface="Meiryo"/>
                      </a:endParaRPr>
                    </a:p>
                  </a:txBody>
                  <a:tcPr marL="0" marR="0" marT="43975" marB="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0"/>
                  </a:ext>
                </a:extLst>
              </a:tr>
              <a:tr h="1765650">
                <a:tc>
                  <a:txBody>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latin typeface="Meiryo"/>
                        <a:ea typeface="Meiryo"/>
                        <a:cs typeface="Meiryo"/>
                        <a:sym typeface="Meiryo"/>
                      </a:endParaRPr>
                    </a:p>
                  </a:txBody>
                  <a:tcPr marL="0" marR="0" marT="0" marB="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8580" marR="0" lvl="0" indent="0" algn="l" rtl="0">
                        <a:lnSpc>
                          <a:spcPct val="100000"/>
                        </a:lnSpc>
                        <a:spcBef>
                          <a:spcPts val="280"/>
                        </a:spcBef>
                        <a:spcAft>
                          <a:spcPts val="0"/>
                        </a:spcAft>
                        <a:buClr>
                          <a:schemeClr val="dk1"/>
                        </a:buClr>
                        <a:buSzPts val="1100"/>
                        <a:buFont typeface="Arial"/>
                        <a:buNone/>
                      </a:pPr>
                      <a:endParaRPr lang="en-US" altLang="ja-JP" sz="1200" b="1" i="0" u="none" strike="noStrike" cap="none">
                        <a:solidFill>
                          <a:srgbClr val="333333"/>
                        </a:solidFill>
                        <a:highlight>
                          <a:srgbClr val="FFFFFF"/>
                        </a:highlight>
                        <a:latin typeface="Meiryo"/>
                        <a:ea typeface="Meiryo"/>
                        <a:cs typeface="Meiryo"/>
                        <a:sym typeface="Meiryo"/>
                      </a:endParaRPr>
                    </a:p>
                    <a:p>
                      <a:pPr marL="68580" marR="0" lvl="0" indent="0" algn="l" rtl="0">
                        <a:lnSpc>
                          <a:spcPct val="100000"/>
                        </a:lnSpc>
                        <a:spcBef>
                          <a:spcPts val="280"/>
                        </a:spcBef>
                        <a:spcAft>
                          <a:spcPts val="0"/>
                        </a:spcAft>
                        <a:buClr>
                          <a:schemeClr val="dk1"/>
                        </a:buClr>
                        <a:buSzPts val="1100"/>
                        <a:buFont typeface="Arial"/>
                        <a:buNone/>
                      </a:pPr>
                      <a:r>
                        <a:rPr lang="ja-JP" sz="1200" b="1" i="0" u="none" strike="noStrike" cap="none">
                          <a:solidFill>
                            <a:srgbClr val="333333"/>
                          </a:solidFill>
                          <a:highlight>
                            <a:srgbClr val="FFFFFF"/>
                          </a:highlight>
                          <a:latin typeface="Meiryo"/>
                          <a:ea typeface="Meiryo"/>
                          <a:cs typeface="Meiryo"/>
                          <a:sym typeface="Meiryo"/>
                        </a:rPr>
                        <a:t>クロンでできること</a:t>
                      </a:r>
                      <a:endParaRPr sz="1200" b="1" i="0" u="none" strike="noStrike" cap="none">
                        <a:solidFill>
                          <a:srgbClr val="333333"/>
                        </a:solidFill>
                        <a:highlight>
                          <a:srgbClr val="FFFFFF"/>
                        </a:highlight>
                        <a:latin typeface="Meiryo"/>
                        <a:ea typeface="Meiryo"/>
                        <a:cs typeface="Meiryo"/>
                        <a:sym typeface="Meiryo"/>
                      </a:endParaRPr>
                    </a:p>
                    <a:p>
                      <a:pPr marL="68580" marR="0" lvl="0" indent="0" algn="l" rtl="0">
                        <a:lnSpc>
                          <a:spcPct val="100000"/>
                        </a:lnSpc>
                        <a:spcBef>
                          <a:spcPts val="280"/>
                        </a:spcBef>
                        <a:spcAft>
                          <a:spcPts val="0"/>
                        </a:spcAft>
                        <a:buClr>
                          <a:schemeClr val="dk1"/>
                        </a:buClr>
                        <a:buSzPts val="1100"/>
                        <a:buFont typeface="Arial"/>
                        <a:buNone/>
                      </a:pPr>
                      <a:r>
                        <a:rPr lang="ja-JP" sz="1200" b="0" i="0" u="none" strike="noStrike" cap="none">
                          <a:solidFill>
                            <a:srgbClr val="333333"/>
                          </a:solidFill>
                          <a:highlight>
                            <a:srgbClr val="FFFFFF"/>
                          </a:highlight>
                          <a:latin typeface="Meiryo"/>
                          <a:ea typeface="Meiryo"/>
                          <a:cs typeface="Meiryo"/>
                          <a:sym typeface="Meiryo"/>
                        </a:rPr>
                        <a:t>クロンは医療機関での診察を</a:t>
                      </a:r>
                      <a:endParaRPr sz="1200" b="0" i="0" u="none" strike="noStrike" cap="none">
                        <a:solidFill>
                          <a:srgbClr val="333333"/>
                        </a:solidFill>
                        <a:highlight>
                          <a:srgbClr val="FFFFFF"/>
                        </a:highlight>
                        <a:latin typeface="Meiryo"/>
                        <a:ea typeface="Meiryo"/>
                        <a:cs typeface="Meiryo"/>
                        <a:sym typeface="Meiryo"/>
                      </a:endParaRPr>
                    </a:p>
                    <a:p>
                      <a:pPr marL="68580" marR="0" lvl="0" indent="0" algn="l" rtl="0">
                        <a:lnSpc>
                          <a:spcPct val="100000"/>
                        </a:lnSpc>
                        <a:spcBef>
                          <a:spcPts val="280"/>
                        </a:spcBef>
                        <a:spcAft>
                          <a:spcPts val="0"/>
                        </a:spcAft>
                        <a:buClr>
                          <a:schemeClr val="dk1"/>
                        </a:buClr>
                        <a:buSzPts val="1100"/>
                        <a:buFont typeface="Arial"/>
                        <a:buNone/>
                      </a:pPr>
                      <a:r>
                        <a:rPr lang="ja-JP" sz="1200" b="0" i="0" u="none" strike="noStrike" cap="none">
                          <a:solidFill>
                            <a:srgbClr val="333333"/>
                          </a:solidFill>
                          <a:highlight>
                            <a:srgbClr val="FFFFFF"/>
                          </a:highlight>
                          <a:latin typeface="Meiryo"/>
                          <a:ea typeface="Meiryo"/>
                          <a:cs typeface="Meiryo"/>
                          <a:sym typeface="Meiryo"/>
                        </a:rPr>
                        <a:t>スマホで受けられるアプリです</a:t>
                      </a:r>
                      <a:endParaRPr sz="1200" b="0" i="0" u="none" strike="noStrike" cap="none">
                        <a:solidFill>
                          <a:srgbClr val="333333"/>
                        </a:solidFill>
                        <a:highlight>
                          <a:srgbClr val="FFFFFF"/>
                        </a:highlight>
                        <a:latin typeface="Meiryo"/>
                        <a:ea typeface="Meiryo"/>
                        <a:cs typeface="Meiryo"/>
                        <a:sym typeface="Meiryo"/>
                      </a:endParaRPr>
                    </a:p>
                    <a:p>
                      <a:pPr marL="68580" marR="0" lvl="0" indent="0" algn="l" rtl="0">
                        <a:lnSpc>
                          <a:spcPct val="100000"/>
                        </a:lnSpc>
                        <a:spcBef>
                          <a:spcPts val="280"/>
                        </a:spcBef>
                        <a:spcAft>
                          <a:spcPts val="0"/>
                        </a:spcAft>
                        <a:buClr>
                          <a:schemeClr val="dk1"/>
                        </a:buClr>
                        <a:buSzPts val="1100"/>
                        <a:buFont typeface="Arial"/>
                        <a:buNone/>
                      </a:pPr>
                      <a:r>
                        <a:rPr lang="ja-JP" sz="1200" b="0" i="0" u="none" strike="noStrike" cap="none">
                          <a:solidFill>
                            <a:srgbClr val="333333"/>
                          </a:solidFill>
                          <a:highlight>
                            <a:srgbClr val="FFFFFF"/>
                          </a:highlight>
                          <a:latin typeface="Meiryo"/>
                          <a:ea typeface="Meiryo"/>
                          <a:cs typeface="Meiryo"/>
                          <a:sym typeface="Meiryo"/>
                        </a:rPr>
                        <a:t>・いつもの先生の診察を通院せずに受けられる</a:t>
                      </a:r>
                      <a:endParaRPr sz="1200" b="0" i="0" u="none" strike="noStrike" cap="none">
                        <a:solidFill>
                          <a:srgbClr val="333333"/>
                        </a:solidFill>
                        <a:highlight>
                          <a:srgbClr val="FFFFFF"/>
                        </a:highlight>
                        <a:latin typeface="Meiryo"/>
                        <a:ea typeface="Meiryo"/>
                        <a:cs typeface="Meiryo"/>
                        <a:sym typeface="Meiryo"/>
                      </a:endParaRPr>
                    </a:p>
                    <a:p>
                      <a:pPr marL="68580" marR="0" lvl="0" indent="0" algn="l" rtl="0">
                        <a:lnSpc>
                          <a:spcPct val="100000"/>
                        </a:lnSpc>
                        <a:spcBef>
                          <a:spcPts val="280"/>
                        </a:spcBef>
                        <a:spcAft>
                          <a:spcPts val="0"/>
                        </a:spcAft>
                        <a:buClr>
                          <a:schemeClr val="dk1"/>
                        </a:buClr>
                        <a:buSzPts val="1100"/>
                        <a:buFont typeface="Arial"/>
                        <a:buNone/>
                      </a:pPr>
                      <a:r>
                        <a:rPr lang="ja-JP" sz="1200" b="0" i="0" u="none" strike="noStrike" cap="none">
                          <a:solidFill>
                            <a:srgbClr val="333333"/>
                          </a:solidFill>
                          <a:highlight>
                            <a:srgbClr val="FFFFFF"/>
                          </a:highlight>
                          <a:latin typeface="Meiryo"/>
                          <a:ea typeface="Meiryo"/>
                          <a:cs typeface="Meiryo"/>
                          <a:sym typeface="Meiryo"/>
                        </a:rPr>
                        <a:t>・スケジュール通りにスムーズに診察してもらえる</a:t>
                      </a:r>
                      <a:endParaRPr sz="1200" b="0" i="0" u="none" strike="noStrike" cap="none">
                        <a:solidFill>
                          <a:srgbClr val="333333"/>
                        </a:solidFill>
                        <a:highlight>
                          <a:srgbClr val="FFFFFF"/>
                        </a:highlight>
                        <a:latin typeface="Meiryo"/>
                        <a:ea typeface="Meiryo"/>
                        <a:cs typeface="Meiryo"/>
                        <a:sym typeface="Meiryo"/>
                      </a:endParaRPr>
                    </a:p>
                    <a:p>
                      <a:pPr marL="68580" marR="0" lvl="0" indent="0" algn="l" rtl="0">
                        <a:lnSpc>
                          <a:spcPct val="100000"/>
                        </a:lnSpc>
                        <a:spcBef>
                          <a:spcPts val="280"/>
                        </a:spcBef>
                        <a:spcAft>
                          <a:spcPts val="0"/>
                        </a:spcAft>
                        <a:buClr>
                          <a:srgbClr val="000000"/>
                        </a:buClr>
                        <a:buSzPts val="1200"/>
                        <a:buFont typeface="Meiryo"/>
                        <a:buNone/>
                      </a:pPr>
                      <a:r>
                        <a:rPr lang="ja-JP" sz="1200" b="0" i="0" u="none" strike="noStrike" cap="none">
                          <a:solidFill>
                            <a:srgbClr val="333333"/>
                          </a:solidFill>
                          <a:highlight>
                            <a:srgbClr val="FFFFFF"/>
                          </a:highlight>
                          <a:latin typeface="Meiryo"/>
                          <a:ea typeface="Meiryo"/>
                          <a:cs typeface="Meiryo"/>
                          <a:sym typeface="Meiryo"/>
                        </a:rPr>
                        <a:t>・処方せんや薬も自宅に届けてもらえる</a:t>
                      </a:r>
                      <a:endParaRPr sz="1200" b="0" i="0" u="none" strike="noStrike" cap="none">
                        <a:latin typeface="Meiryo"/>
                        <a:ea typeface="Meiryo"/>
                        <a:cs typeface="Meiryo"/>
                        <a:sym typeface="Meiryo"/>
                      </a:endParaRPr>
                    </a:p>
                  </a:txBody>
                  <a:tcPr marL="0" marR="0" marT="30400" marB="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7945" marR="0" lvl="0" indent="0" algn="l" rtl="0">
                        <a:lnSpc>
                          <a:spcPct val="100000"/>
                        </a:lnSpc>
                        <a:spcBef>
                          <a:spcPts val="25"/>
                        </a:spcBef>
                        <a:spcAft>
                          <a:spcPts val="0"/>
                        </a:spcAft>
                        <a:buClr>
                          <a:srgbClr val="000000"/>
                        </a:buClr>
                        <a:buSzPts val="1200"/>
                        <a:buFont typeface="Arial"/>
                        <a:buNone/>
                      </a:pPr>
                      <a:endParaRPr lang="en-US" altLang="ja-JP" sz="1200" b="0" i="0" u="none" strike="noStrike" cap="none">
                        <a:latin typeface="Meiryo"/>
                        <a:ea typeface="Meiryo"/>
                        <a:cs typeface="Meiryo"/>
                        <a:sym typeface="Meiryo"/>
                      </a:endParaRPr>
                    </a:p>
                    <a:p>
                      <a:pPr marL="67945" marR="0" lvl="0" indent="0" algn="l" rtl="0">
                        <a:lnSpc>
                          <a:spcPct val="100000"/>
                        </a:lnSpc>
                        <a:spcBef>
                          <a:spcPts val="25"/>
                        </a:spcBef>
                        <a:spcAft>
                          <a:spcPts val="0"/>
                        </a:spcAft>
                        <a:buClr>
                          <a:srgbClr val="000000"/>
                        </a:buClr>
                        <a:buSzPts val="1200"/>
                        <a:buFont typeface="Arial"/>
                        <a:buNone/>
                      </a:pPr>
                      <a:r>
                        <a:rPr lang="ja-JP" sz="1200" b="1" i="0" u="none" strike="noStrike" cap="none">
                          <a:latin typeface="Meiryo" charset="-128"/>
                          <a:ea typeface="Meiryo" charset="-128"/>
                          <a:cs typeface="Meiryo" charset="-128"/>
                          <a:sym typeface="Meiryo"/>
                        </a:rPr>
                        <a:t>Micin, Inc.</a:t>
                      </a:r>
                      <a:endParaRPr sz="1200" b="1" i="0" u="none" strike="noStrike" cap="none">
                        <a:latin typeface="Meiryo" charset="-128"/>
                        <a:ea typeface="Meiryo" charset="-128"/>
                        <a:cs typeface="Meiryo" charset="-128"/>
                        <a:sym typeface="Meiryo"/>
                      </a:endParaRPr>
                    </a:p>
                    <a:p>
                      <a:pPr marL="67945" marR="0" lvl="0" indent="0" algn="l" rtl="0">
                        <a:lnSpc>
                          <a:spcPct val="100000"/>
                        </a:lnSpc>
                        <a:spcBef>
                          <a:spcPts val="25"/>
                        </a:spcBef>
                        <a:spcAft>
                          <a:spcPts val="0"/>
                        </a:spcAft>
                        <a:buClr>
                          <a:srgbClr val="000000"/>
                        </a:buClr>
                        <a:buSzPts val="1200"/>
                        <a:buFont typeface="Arial"/>
                        <a:buNone/>
                      </a:pPr>
                      <a:r>
                        <a:rPr lang="ja-JP" sz="1200" b="1" i="0" u="none" strike="noStrike" cap="none">
                          <a:latin typeface="Meiryo" charset="-128"/>
                          <a:ea typeface="Meiryo" charset="-128"/>
                          <a:cs typeface="Meiryo" charset="-128"/>
                          <a:sym typeface="Meiryo"/>
                        </a:rPr>
                        <a:t>Android</a:t>
                      </a:r>
                      <a:r>
                        <a:rPr lang="en-US" altLang="ja-JP" sz="1200" b="1" i="0" u="none" strike="noStrike" cap="none">
                          <a:latin typeface="Meiryo" charset="-128"/>
                          <a:ea typeface="Meiryo" charset="-128"/>
                          <a:cs typeface="Meiryo" charset="-128"/>
                          <a:sym typeface="Meiryo"/>
                        </a:rPr>
                        <a:t> </a:t>
                      </a:r>
                      <a:r>
                        <a:rPr lang="ja-JP" sz="1200" b="1" i="0" u="none" strike="noStrike" cap="none">
                          <a:latin typeface="Meiryo" charset="-128"/>
                          <a:ea typeface="Meiryo" charset="-128"/>
                          <a:cs typeface="Meiryo" charset="-128"/>
                          <a:sym typeface="Meiryo"/>
                        </a:rPr>
                        <a:t>OS 9.0以上</a:t>
                      </a:r>
                      <a:endParaRPr sz="1200" b="1" i="0" u="none" strike="noStrike" cap="none">
                        <a:latin typeface="Meiryo" charset="-128"/>
                        <a:ea typeface="Meiryo" charset="-128"/>
                        <a:cs typeface="Meiryo" charset="-128"/>
                        <a:sym typeface="Meiryo"/>
                      </a:endParaRPr>
                    </a:p>
                    <a:p>
                      <a:pPr marL="67945" marR="0" lvl="0" indent="0" algn="just" rtl="0">
                        <a:lnSpc>
                          <a:spcPct val="100000"/>
                        </a:lnSpc>
                        <a:spcBef>
                          <a:spcPts val="25"/>
                        </a:spcBef>
                        <a:spcAft>
                          <a:spcPts val="0"/>
                        </a:spcAft>
                        <a:buClr>
                          <a:srgbClr val="000000"/>
                        </a:buClr>
                        <a:buSzPts val="1200"/>
                        <a:buFont typeface="Meiryo"/>
                        <a:buNone/>
                      </a:pPr>
                      <a:endParaRPr lang="en-US" altLang="ja-JP" sz="1200" b="0" i="0" u="none" strike="noStrike" cap="none">
                        <a:latin typeface="Meiryo"/>
                        <a:ea typeface="Meiryo"/>
                        <a:cs typeface="Meiryo"/>
                        <a:sym typeface="Meiryo"/>
                      </a:endParaRPr>
                    </a:p>
                    <a:p>
                      <a:pPr marL="67945" marR="0" lvl="0" indent="0" algn="just" rtl="0">
                        <a:lnSpc>
                          <a:spcPct val="100000"/>
                        </a:lnSpc>
                        <a:spcBef>
                          <a:spcPts val="25"/>
                        </a:spcBef>
                        <a:spcAft>
                          <a:spcPts val="0"/>
                        </a:spcAft>
                        <a:buClr>
                          <a:srgbClr val="000000"/>
                        </a:buClr>
                        <a:buSzPts val="1200"/>
                        <a:buFont typeface="Meiryo"/>
                        <a:buNone/>
                      </a:pPr>
                      <a:r>
                        <a:rPr lang="ja-JP" sz="1200" b="0" i="0" u="none" strike="noStrike" cap="none">
                          <a:latin typeface="Meiryo"/>
                          <a:ea typeface="Meiryo"/>
                          <a:cs typeface="Meiryo"/>
                          <a:sym typeface="Meiryo"/>
                        </a:rPr>
                        <a:t>インストール費は</a:t>
                      </a:r>
                      <a:endParaRPr lang="en-US" altLang="ja-JP" sz="1200" b="0" i="0" u="none" strike="noStrike" cap="none">
                        <a:latin typeface="Meiryo"/>
                        <a:ea typeface="Meiryo"/>
                        <a:cs typeface="Meiryo"/>
                        <a:sym typeface="Meiryo"/>
                      </a:endParaRPr>
                    </a:p>
                    <a:p>
                      <a:pPr marL="67945" marR="0" lvl="0" indent="0" algn="just" rtl="0">
                        <a:lnSpc>
                          <a:spcPct val="100000"/>
                        </a:lnSpc>
                        <a:spcBef>
                          <a:spcPts val="25"/>
                        </a:spcBef>
                        <a:spcAft>
                          <a:spcPts val="0"/>
                        </a:spcAft>
                        <a:buClr>
                          <a:srgbClr val="000000"/>
                        </a:buClr>
                        <a:buSzPts val="1200"/>
                        <a:buFont typeface="Meiryo"/>
                        <a:buNone/>
                      </a:pPr>
                      <a:r>
                        <a:rPr lang="ja-JP" sz="1200" b="0" i="0" u="none" strike="noStrike" cap="none">
                          <a:latin typeface="Meiryo"/>
                          <a:ea typeface="Meiryo"/>
                          <a:cs typeface="Meiryo"/>
                          <a:sym typeface="Meiryo"/>
                        </a:rPr>
                        <a:t>無料ですが</a:t>
                      </a:r>
                      <a:endParaRPr sz="1200" b="0" i="0" u="none" strike="noStrike" cap="none">
                        <a:latin typeface="Meiryo"/>
                        <a:ea typeface="Meiryo"/>
                        <a:cs typeface="Meiryo"/>
                        <a:sym typeface="Meiryo"/>
                      </a:endParaRPr>
                    </a:p>
                    <a:p>
                      <a:pPr marL="67945" marR="0" lvl="0" indent="0" algn="just" rtl="0">
                        <a:lnSpc>
                          <a:spcPct val="100000"/>
                        </a:lnSpc>
                        <a:spcBef>
                          <a:spcPts val="25"/>
                        </a:spcBef>
                        <a:spcAft>
                          <a:spcPts val="0"/>
                        </a:spcAft>
                        <a:buClr>
                          <a:srgbClr val="000000"/>
                        </a:buClr>
                        <a:buSzPts val="1200"/>
                        <a:buFont typeface="Meiryo"/>
                        <a:buNone/>
                      </a:pPr>
                      <a:r>
                        <a:rPr lang="ja-JP" sz="1200" b="0" i="0" u="none" strike="noStrike" cap="none">
                          <a:latin typeface="Meiryo"/>
                          <a:ea typeface="Meiryo"/>
                          <a:cs typeface="Meiryo"/>
                          <a:sym typeface="Meiryo"/>
                        </a:rPr>
                        <a:t>利用料330円／回が必要</a:t>
                      </a:r>
                      <a:endParaRPr sz="1200" b="0" i="0" u="none" strike="noStrike" cap="none">
                        <a:latin typeface="Meiryo"/>
                        <a:ea typeface="Meiryo"/>
                        <a:cs typeface="Meiryo"/>
                        <a:sym typeface="Meiryo"/>
                      </a:endParaRPr>
                    </a:p>
                  </a:txBody>
                  <a:tcPr marL="0" marR="0" marT="2725" marB="0">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bl>
          </a:graphicData>
        </a:graphic>
      </p:graphicFrame>
      <p:sp>
        <p:nvSpPr>
          <p:cNvPr id="76" name="Google Shape;76;p3" descr="「クロン」アプリのアイコンの画像"/>
          <p:cNvSpPr/>
          <p:nvPr/>
        </p:nvSpPr>
        <p:spPr>
          <a:xfrm>
            <a:off x="986946" y="3147579"/>
            <a:ext cx="952800" cy="900000"/>
          </a:xfrm>
          <a:prstGeom prst="rect">
            <a:avLst/>
          </a:prstGeom>
          <a:blipFill rotWithShape="1">
            <a:blip r:embed="rId7">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539"/>
              <a:buFont typeface="Arial"/>
              <a:buNone/>
            </a:pPr>
            <a:endParaRPr sz="1539" b="0" i="0" u="none" strike="noStrike" cap="none">
              <a:solidFill>
                <a:schemeClr val="dk1"/>
              </a:solidFill>
              <a:latin typeface="Calibri"/>
              <a:ea typeface="Calibri"/>
              <a:cs typeface="Calibri"/>
              <a:sym typeface="Calibri"/>
            </a:endParaRPr>
          </a:p>
        </p:txBody>
      </p:sp>
      <p:sp>
        <p:nvSpPr>
          <p:cNvPr id="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10"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curonのインストール</a:t>
            </a:r>
            <a:endParaRPr kumimoji="0" lang="ja-JP" altLang="en-US" sz="3200" kern="0"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580"/>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E473CAE8-3122-4BF8-80E1-7DC4A76C9EF9}"/>
              </a:ext>
            </a:extLst>
          </p:cNvPr>
          <p:cNvGraphicFramePr>
            <a:graphicFrameLocks noChangeAspect="1"/>
          </p:cNvGraphicFramePr>
          <p:nvPr>
            <p:custDataLst>
              <p:tags r:id="rId2"/>
            </p:custDataLst>
            <p:extLst>
              <p:ext uri="{D42A27DB-BD31-4B8C-83A1-F6EECF244321}">
                <p14:modId xmlns:p14="http://schemas.microsoft.com/office/powerpoint/2010/main" val="3086386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32"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81" name="Google Shape;581;p17" descr="「新しく撮影する」ボタンをタップしている画像"/>
          <p:cNvPicPr preferRelativeResize="0">
            <a:picLocks noChangeAspect="1"/>
          </p:cNvPicPr>
          <p:nvPr/>
        </p:nvPicPr>
        <p:blipFill>
          <a:blip r:embed="rId7">
            <a:alphaModFix/>
          </a:blip>
          <a:stretch>
            <a:fillRect/>
          </a:stretch>
        </p:blipFill>
        <p:spPr>
          <a:xfrm>
            <a:off x="4762437" y="2004033"/>
            <a:ext cx="1620000" cy="3498467"/>
          </a:xfrm>
          <a:prstGeom prst="rect">
            <a:avLst/>
          </a:prstGeom>
          <a:noFill/>
          <a:ln>
            <a:noFill/>
          </a:ln>
        </p:spPr>
      </p:pic>
      <p:pic>
        <p:nvPicPr>
          <p:cNvPr id="582" name="Google Shape;582;p17" descr="オンライン診療申込画面の保険証の緑のカメラのアイコンをタップしている画像"/>
          <p:cNvPicPr preferRelativeResize="0">
            <a:picLocks noChangeAspect="1"/>
          </p:cNvPicPr>
          <p:nvPr/>
        </p:nvPicPr>
        <p:blipFill>
          <a:blip r:embed="rId8">
            <a:alphaModFix/>
          </a:blip>
          <a:stretch>
            <a:fillRect/>
          </a:stretch>
        </p:blipFill>
        <p:spPr>
          <a:xfrm>
            <a:off x="2601522" y="2004033"/>
            <a:ext cx="1620000" cy="2402735"/>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584" name="Google Shape;584;p17"/>
          <p:cNvSpPr txBox="1"/>
          <p:nvPr/>
        </p:nvSpPr>
        <p:spPr>
          <a:xfrm>
            <a:off x="323791" y="1439335"/>
            <a:ext cx="2700000" cy="3702922"/>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あらかじめ</a:t>
            </a:r>
            <a:endParaRPr lang="en-US" altLang="ja-JP" sz="1800" b="1" i="0" u="none" strike="noStrike" cap="none" dirty="0">
              <a:solidFill>
                <a:schemeClr val="dk1"/>
              </a:solidFill>
              <a:latin typeface="Meiryo"/>
              <a:ea typeface="Meiryo"/>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保険証をご準備</a:t>
            </a:r>
            <a:endParaRPr lang="en-US" altLang="ja-JP" sz="1800" b="1" i="0" u="none" strike="noStrike" cap="none" dirty="0">
              <a:solidFill>
                <a:schemeClr val="dk1"/>
              </a:solidFill>
              <a:latin typeface="Meiryo"/>
              <a:ea typeface="Meiryo"/>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ください。</a:t>
            </a:r>
            <a:endParaRPr lang="en-US" altLang="ja-JP" sz="1800" b="1" i="0" u="none" strike="noStrike" cap="none" dirty="0">
              <a:solidFill>
                <a:schemeClr val="dk1"/>
              </a:solidFill>
              <a:latin typeface="Meiryo"/>
              <a:ea typeface="Meiryo"/>
              <a:cs typeface="Meiryo"/>
              <a:sym typeface="Meiryo"/>
            </a:endParaRPr>
          </a:p>
          <a:p>
            <a:pPr marL="9525" marR="4343" lvl="0" algn="l" rtl="0">
              <a:spcBef>
                <a:spcPts val="0"/>
              </a:spcBef>
              <a:spcAft>
                <a:spcPts val="0"/>
              </a:spcAft>
              <a:buNone/>
              <a:tabLst>
                <a:tab pos="355600" algn="l"/>
              </a:tabLst>
            </a:pPr>
            <a:r>
              <a:rPr lang="ja-JP" sz="2400" b="1" i="0" u="none" strike="noStrike" cap="none" dirty="0">
                <a:solidFill>
                  <a:srgbClr val="009650"/>
                </a:solidFill>
                <a:latin typeface="Meiryo"/>
                <a:ea typeface="Meiryo"/>
                <a:cs typeface="Meiryo"/>
                <a:sym typeface="Meiryo"/>
              </a:rPr>
              <a:t>❶</a:t>
            </a:r>
            <a:r>
              <a:rPr lang="en-US" altLang="ja-JP" sz="2400" b="1" i="0" u="none" strike="noStrike" cap="none"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緑のカメラ</a:t>
            </a:r>
            <a:r>
              <a:rPr lang="ja-JP" altLang="en-US" sz="1800" b="1" dirty="0">
                <a:solidFill>
                  <a:schemeClr val="tx1"/>
                </a:solidFill>
                <a:latin typeface="Meiryo"/>
                <a:ea typeface="Meiryo"/>
                <a:cs typeface="Meiryo"/>
                <a:sym typeface="Meiryo"/>
              </a:rPr>
              <a:t>の</a:t>
            </a:r>
            <a:endParaRPr lang="en-US" altLang="ja-JP" sz="1800" b="1" dirty="0">
              <a:solidFill>
                <a:schemeClr val="tx1"/>
              </a:solidFill>
              <a:latin typeface="Meiryo"/>
              <a:ea typeface="Meiryo"/>
              <a:cs typeface="Meiryo"/>
              <a:sym typeface="Meiryo"/>
            </a:endParaRPr>
          </a:p>
          <a:p>
            <a:pPr marL="9525" marR="4343" lvl="0" algn="l" rtl="0">
              <a:spcBef>
                <a:spcPts val="0"/>
              </a:spcBef>
              <a:spcAft>
                <a:spcPts val="0"/>
              </a:spcAft>
              <a:buNone/>
              <a:tabLst>
                <a:tab pos="355600" algn="l"/>
              </a:tabLst>
            </a:pPr>
            <a:r>
              <a:rPr lang="en-US" altLang="ja-JP" sz="1800" b="1" dirty="0">
                <a:solidFill>
                  <a:schemeClr val="tx1"/>
                </a:solidFill>
                <a:latin typeface="Meiryo"/>
                <a:ea typeface="Meiryo"/>
                <a:cs typeface="Meiryo"/>
                <a:sym typeface="Meiryo"/>
              </a:rPr>
              <a:t>	</a:t>
            </a:r>
            <a:r>
              <a:rPr lang="ja-JP" altLang="en-US" sz="1800" b="1" dirty="0">
                <a:solidFill>
                  <a:schemeClr val="tx1"/>
                </a:solidFill>
                <a:latin typeface="Meiryo"/>
                <a:ea typeface="Meiryo"/>
                <a:cs typeface="Meiryo"/>
                <a:sym typeface="Meiryo"/>
              </a:rPr>
              <a:t>アイコン</a:t>
            </a:r>
            <a:r>
              <a:rPr lang="ja-JP" sz="1800" b="1" i="0" u="none" strike="noStrike" cap="none" dirty="0">
                <a:solidFill>
                  <a:schemeClr val="dk1"/>
                </a:solidFill>
                <a:latin typeface="Meiryo"/>
                <a:ea typeface="Meiryo"/>
                <a:cs typeface="Meiryo"/>
                <a:sym typeface="Meiryo"/>
              </a:rPr>
              <a:t>をタップ</a:t>
            </a:r>
            <a:endParaRPr sz="1800" b="1" i="0" u="none" strike="noStrike" cap="none" dirty="0">
              <a:solidFill>
                <a:schemeClr val="dk1"/>
              </a:solidFill>
              <a:latin typeface="Meiryo"/>
              <a:ea typeface="Meiryo"/>
              <a:cs typeface="Meiryo"/>
              <a:sym typeface="Meiryo"/>
            </a:endParaRPr>
          </a:p>
          <a:p>
            <a:pPr marL="9525" marR="4344" lvl="0" algn="l" rtl="0">
              <a:spcBef>
                <a:spcPts val="85"/>
              </a:spcBef>
              <a:spcAft>
                <a:spcPts val="0"/>
              </a:spcAft>
              <a:buNone/>
              <a:tabLst>
                <a:tab pos="355600"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新しく</a:t>
            </a:r>
            <a:endParaRPr lang="en-US" altLang="ja-JP" sz="1800" b="1" dirty="0">
              <a:solidFill>
                <a:schemeClr val="dk1"/>
              </a:solidFill>
              <a:latin typeface="Meiryo"/>
              <a:ea typeface="Meiryo"/>
              <a:cs typeface="Meiryo"/>
              <a:sym typeface="Meiryo"/>
            </a:endParaRPr>
          </a:p>
          <a:p>
            <a:pPr marL="9525" marR="4344" lvl="0" algn="l" rtl="0">
              <a:spcBef>
                <a:spcPts val="85"/>
              </a:spcBef>
              <a:spcAft>
                <a:spcPts val="0"/>
              </a:spcAft>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撮影する</a:t>
            </a:r>
            <a:r>
              <a:rPr lang="en-US" altLang="ja-JP" sz="1800" b="1" dirty="0">
                <a:solidFill>
                  <a:schemeClr val="tx1"/>
                </a:solidFill>
                <a:latin typeface="Meiryo"/>
                <a:ea typeface="Meiryo"/>
                <a:cs typeface="Meiryo"/>
                <a:sym typeface="Meiryo"/>
              </a:rPr>
              <a:t>｣</a:t>
            </a:r>
            <a:r>
              <a:rPr lang="ja-JP" sz="1800" b="1" dirty="0">
                <a:solidFill>
                  <a:schemeClr val="dk1"/>
                </a:solidFill>
                <a:latin typeface="Meiryo"/>
                <a:ea typeface="Meiryo"/>
                <a:cs typeface="Meiryo"/>
                <a:sym typeface="Meiryo"/>
              </a:rPr>
              <a:t>を</a:t>
            </a:r>
            <a:endParaRPr lang="en-US" altLang="ja-JP" sz="1800" b="1" dirty="0">
              <a:solidFill>
                <a:schemeClr val="dk1"/>
              </a:solidFill>
              <a:latin typeface="Meiryo"/>
              <a:ea typeface="Meiryo"/>
              <a:cs typeface="Meiryo"/>
              <a:sym typeface="Meiryo"/>
            </a:endParaRPr>
          </a:p>
          <a:p>
            <a:pPr marL="9525" marR="4344" lvl="0" algn="l" rtl="0">
              <a:spcBef>
                <a:spcPts val="85"/>
              </a:spcBef>
              <a:spcAft>
                <a:spcPts val="0"/>
              </a:spcAft>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タップ</a:t>
            </a:r>
            <a:endParaRPr sz="1800" b="1" dirty="0">
              <a:solidFill>
                <a:schemeClr val="dk1"/>
              </a:solidFill>
              <a:latin typeface="Meiryo"/>
              <a:ea typeface="Meiryo"/>
              <a:cs typeface="Meiryo"/>
              <a:sym typeface="Meiryo"/>
            </a:endParaRPr>
          </a:p>
          <a:p>
            <a:pPr marL="9525" marR="4344" lvl="0" algn="l" rtl="0">
              <a:spcBef>
                <a:spcPts val="85"/>
              </a:spcBef>
              <a:spcAft>
                <a:spcPts val="0"/>
              </a:spcAft>
              <a:buNone/>
              <a:tabLst>
                <a:tab pos="355600" algn="l"/>
              </a:tabLst>
            </a:pPr>
            <a:r>
              <a:rPr lang="ja-JP" sz="2400" b="1" dirty="0">
                <a:solidFill>
                  <a:srgbClr val="009650"/>
                </a:solidFill>
                <a:latin typeface="Meiryo"/>
                <a:ea typeface="Meiryo"/>
                <a:cs typeface="Meiryo"/>
                <a:sym typeface="Meiryo"/>
              </a:rPr>
              <a:t>❸</a:t>
            </a:r>
            <a:r>
              <a:rPr lang="en-US" altLang="ja-JP" sz="2400" b="1"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カメラのアプリが</a:t>
            </a:r>
            <a:endParaRPr lang="en-US" altLang="ja-JP" sz="1800" b="1" dirty="0">
              <a:solidFill>
                <a:schemeClr val="dk1"/>
              </a:solidFill>
              <a:latin typeface="Meiryo"/>
              <a:ea typeface="Meiryo"/>
              <a:cs typeface="Meiryo"/>
              <a:sym typeface="Meiryo"/>
            </a:endParaRPr>
          </a:p>
          <a:p>
            <a:pPr marL="9525" marR="4344" lvl="0" algn="l" rtl="0">
              <a:spcBef>
                <a:spcPts val="85"/>
              </a:spcBef>
              <a:spcAft>
                <a:spcPts val="0"/>
              </a:spcAft>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起動するので、</a:t>
            </a:r>
            <a:endParaRPr lang="en-US" altLang="ja-JP" sz="1800" b="1" dirty="0">
              <a:solidFill>
                <a:schemeClr val="dk1"/>
              </a:solidFill>
              <a:latin typeface="Meiryo"/>
              <a:ea typeface="Meiryo"/>
              <a:cs typeface="Meiryo"/>
              <a:sym typeface="Meiryo"/>
            </a:endParaRPr>
          </a:p>
          <a:p>
            <a:pPr marL="9525" marR="4344" lvl="0" algn="l" rtl="0">
              <a:spcBef>
                <a:spcPts val="85"/>
              </a:spcBef>
              <a:spcAft>
                <a:spcPts val="0"/>
              </a:spcAft>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保険証を</a:t>
            </a:r>
            <a:endParaRPr lang="en-US" altLang="ja-JP" sz="1800" b="1" dirty="0">
              <a:solidFill>
                <a:schemeClr val="dk1"/>
              </a:solidFill>
              <a:latin typeface="Meiryo"/>
              <a:ea typeface="Meiryo"/>
              <a:cs typeface="Meiryo"/>
              <a:sym typeface="Meiryo"/>
            </a:endParaRPr>
          </a:p>
          <a:p>
            <a:pPr marL="9525" marR="4344" lvl="0" algn="l" rtl="0">
              <a:spcBef>
                <a:spcPts val="85"/>
              </a:spcBef>
              <a:spcAft>
                <a:spcPts val="0"/>
              </a:spcAft>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撮影してください</a:t>
            </a:r>
            <a:endParaRPr sz="1800" b="1" i="0" u="none" strike="noStrike" cap="none" dirty="0">
              <a:solidFill>
                <a:schemeClr val="dk1"/>
              </a:solidFill>
              <a:latin typeface="Meiryo"/>
              <a:ea typeface="Meiryo"/>
              <a:cs typeface="Meiryo"/>
              <a:sym typeface="Meiryo"/>
            </a:endParaRPr>
          </a:p>
        </p:txBody>
      </p:sp>
      <p:sp>
        <p:nvSpPr>
          <p:cNvPr id="585" name="Google Shape;585;p17"/>
          <p:cNvSpPr txBox="1"/>
          <p:nvPr/>
        </p:nvSpPr>
        <p:spPr>
          <a:xfrm>
            <a:off x="2586958" y="1434572"/>
            <a:ext cx="1980000" cy="441843"/>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a:solidFill>
                  <a:srgbClr val="009650"/>
                </a:solidFill>
                <a:latin typeface="Meiryo"/>
                <a:ea typeface="Meiryo"/>
                <a:cs typeface="Meiryo"/>
                <a:sym typeface="Meiryo"/>
              </a:rPr>
              <a:t>保険証を</a:t>
            </a:r>
            <a:endParaRPr sz="1400" b="1">
              <a:solidFill>
                <a:srgbClr val="009650"/>
              </a:solidFill>
              <a:latin typeface="Meiryo"/>
              <a:ea typeface="Meiryo"/>
              <a:cs typeface="Meiryo"/>
              <a:sym typeface="Meiryo"/>
            </a:endParaRPr>
          </a:p>
          <a:p>
            <a:pPr marL="10860" marR="0" lvl="0" indent="0" algn="l" rtl="0">
              <a:lnSpc>
                <a:spcPct val="100000"/>
              </a:lnSpc>
              <a:spcBef>
                <a:spcPts val="0"/>
              </a:spcBef>
              <a:spcAft>
                <a:spcPts val="0"/>
              </a:spcAft>
              <a:buClr>
                <a:srgbClr val="000000"/>
              </a:buClr>
              <a:buSzPts val="1400"/>
              <a:buFont typeface="Arial"/>
              <a:buNone/>
            </a:pPr>
            <a:r>
              <a:rPr lang="ja-JP" sz="1400" b="1">
                <a:solidFill>
                  <a:srgbClr val="009650"/>
                </a:solidFill>
                <a:latin typeface="Meiryo"/>
                <a:ea typeface="Meiryo"/>
                <a:cs typeface="Meiryo"/>
                <a:sym typeface="Meiryo"/>
              </a:rPr>
              <a:t>アップロードする</a:t>
            </a:r>
            <a:endParaRPr sz="1400" b="1" i="0" u="none" strike="noStrike" cap="none">
              <a:solidFill>
                <a:srgbClr val="009650"/>
              </a:solidFill>
              <a:latin typeface="Meiryo"/>
              <a:ea typeface="Meiryo"/>
              <a:cs typeface="Meiryo"/>
              <a:sym typeface="Meiryo"/>
            </a:endParaRPr>
          </a:p>
        </p:txBody>
      </p:sp>
      <p:sp>
        <p:nvSpPr>
          <p:cNvPr id="586" name="Google Shape;586;p17"/>
          <p:cNvSpPr/>
          <p:nvPr/>
        </p:nvSpPr>
        <p:spPr>
          <a:xfrm>
            <a:off x="2969455" y="3525209"/>
            <a:ext cx="900000" cy="54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590" name="Google Shape;590;p17"/>
          <p:cNvSpPr/>
          <p:nvPr/>
        </p:nvSpPr>
        <p:spPr>
          <a:xfrm>
            <a:off x="4967811" y="4559302"/>
            <a:ext cx="1080000" cy="36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594" name="Google Shape;594;p17"/>
          <p:cNvSpPr txBox="1"/>
          <p:nvPr/>
        </p:nvSpPr>
        <p:spPr>
          <a:xfrm>
            <a:off x="4735640" y="1446229"/>
            <a:ext cx="1945800" cy="2265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a:solidFill>
                  <a:srgbClr val="009650"/>
                </a:solidFill>
                <a:latin typeface="Meiryo"/>
                <a:ea typeface="Meiryo"/>
                <a:cs typeface="Meiryo"/>
                <a:sym typeface="Meiryo"/>
              </a:rPr>
              <a:t>新しく撮影</a:t>
            </a:r>
            <a:endParaRPr sz="1400" b="1" i="0" u="none" strike="noStrike" cap="none">
              <a:solidFill>
                <a:srgbClr val="009650"/>
              </a:solidFill>
              <a:latin typeface="Meiryo"/>
              <a:ea typeface="Meiryo"/>
              <a:cs typeface="Meiryo"/>
              <a:sym typeface="Meiryo"/>
            </a:endParaRPr>
          </a:p>
        </p:txBody>
      </p:sp>
      <p:sp>
        <p:nvSpPr>
          <p:cNvPr id="2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8"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1</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保険証のアップロード</a:t>
            </a:r>
            <a:endParaRPr kumimoji="0" lang="ja-JP" altLang="en-US" sz="3200" b="0" kern="0" dirty="0"/>
          </a:p>
        </p:txBody>
      </p:sp>
      <p:grpSp>
        <p:nvGrpSpPr>
          <p:cNvPr id="29" name="図形グループ 28"/>
          <p:cNvGrpSpPr>
            <a:grpSpLocks noChangeAspect="1"/>
          </p:cNvGrpSpPr>
          <p:nvPr/>
        </p:nvGrpSpPr>
        <p:grpSpPr>
          <a:xfrm>
            <a:off x="4375267" y="3304349"/>
            <a:ext cx="360000" cy="270000"/>
            <a:chOff x="3355262" y="5469690"/>
            <a:chExt cx="720000" cy="540000"/>
          </a:xfrm>
        </p:grpSpPr>
        <p:cxnSp>
          <p:nvCxnSpPr>
            <p:cNvPr id="30" name="カギ線コネクタ 29"/>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2" name="図形グループ 31"/>
          <p:cNvGrpSpPr>
            <a:grpSpLocks noChangeAspect="1"/>
          </p:cNvGrpSpPr>
          <p:nvPr/>
        </p:nvGrpSpPr>
        <p:grpSpPr>
          <a:xfrm>
            <a:off x="6530979" y="3304349"/>
            <a:ext cx="360000" cy="270000"/>
            <a:chOff x="3355262" y="5469690"/>
            <a:chExt cx="720000" cy="540000"/>
          </a:xfrm>
        </p:grpSpPr>
        <p:cxnSp>
          <p:nvCxnSpPr>
            <p:cNvPr id="33" name="カギ線コネクタ 3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5" name="図形グループ 34"/>
          <p:cNvGrpSpPr/>
          <p:nvPr/>
        </p:nvGrpSpPr>
        <p:grpSpPr>
          <a:xfrm>
            <a:off x="4828169" y="4412277"/>
            <a:ext cx="296586" cy="293005"/>
            <a:chOff x="3546641" y="3995693"/>
            <a:chExt cx="296586" cy="293005"/>
          </a:xfrm>
        </p:grpSpPr>
        <p:sp>
          <p:nvSpPr>
            <p:cNvPr id="36" name="円/楕円 3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3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8" name="図形グループ 37"/>
          <p:cNvGrpSpPr/>
          <p:nvPr/>
        </p:nvGrpSpPr>
        <p:grpSpPr>
          <a:xfrm>
            <a:off x="2815195" y="3374923"/>
            <a:ext cx="296587" cy="293005"/>
            <a:chOff x="2897417" y="3995693"/>
            <a:chExt cx="296587" cy="293005"/>
          </a:xfrm>
        </p:grpSpPr>
        <p:sp>
          <p:nvSpPr>
            <p:cNvPr id="39" name="円/楕円 3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 name="図形グループ 2" descr="カメラで保険証を撮影している画像"/>
          <p:cNvGrpSpPr>
            <a:grpSpLocks noChangeAspect="1"/>
          </p:cNvGrpSpPr>
          <p:nvPr/>
        </p:nvGrpSpPr>
        <p:grpSpPr>
          <a:xfrm>
            <a:off x="6929467" y="2004033"/>
            <a:ext cx="1620000" cy="3479155"/>
            <a:chOff x="7677071" y="1993146"/>
            <a:chExt cx="1927710" cy="4140001"/>
          </a:xfrm>
        </p:grpSpPr>
        <p:pic>
          <p:nvPicPr>
            <p:cNvPr id="4" name="図 3">
              <a:extLst>
                <a:ext uri="{FF2B5EF4-FFF2-40B4-BE49-F238E27FC236}">
                  <a16:creationId xmlns:a16="http://schemas.microsoft.com/office/drawing/2014/main" id="{35B46013-F0E4-4F13-8CAD-10C0D19B7B4D}"/>
                </a:ext>
              </a:extLst>
            </p:cNvPr>
            <p:cNvPicPr>
              <a:picLocks noChangeAspect="1"/>
            </p:cNvPicPr>
            <p:nvPr/>
          </p:nvPicPr>
          <p:blipFill>
            <a:blip r:embed="rId9"/>
            <a:stretch>
              <a:fillRect/>
            </a:stretch>
          </p:blipFill>
          <p:spPr>
            <a:xfrm>
              <a:off x="7677071" y="1993146"/>
              <a:ext cx="1911946" cy="4140001"/>
            </a:xfrm>
            <a:prstGeom prst="rect">
              <a:avLst/>
            </a:prstGeom>
            <a:ln w="9525">
              <a:solidFill>
                <a:schemeClr val="tx1">
                  <a:lumMod val="50000"/>
                  <a:lumOff val="50000"/>
                </a:schemeClr>
              </a:solidFill>
            </a:ln>
          </p:spPr>
        </p:pic>
        <p:sp>
          <p:nvSpPr>
            <p:cNvPr id="5" name="正方形/長方形 4">
              <a:extLst>
                <a:ext uri="{FF2B5EF4-FFF2-40B4-BE49-F238E27FC236}">
                  <a16:creationId xmlns:a16="http://schemas.microsoft.com/office/drawing/2014/main" id="{EB6838BF-FA8A-46D1-BD1E-83AE371D5765}"/>
                </a:ext>
              </a:extLst>
            </p:cNvPr>
            <p:cNvSpPr/>
            <p:nvPr/>
          </p:nvSpPr>
          <p:spPr>
            <a:xfrm>
              <a:off x="7678168" y="2607652"/>
              <a:ext cx="1911600" cy="27722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41" name="Google Shape;611;p16">
              <a:extLst>
                <a:ext uri="{FF2B5EF4-FFF2-40B4-BE49-F238E27FC236}">
                  <a16:creationId xmlns:a16="http://schemas.microsoft.com/office/drawing/2014/main" id="{A9265F8A-EE21-4A83-A305-30E30ED834F1}"/>
                </a:ext>
              </a:extLst>
            </p:cNvPr>
            <p:cNvPicPr preferRelativeResize="0">
              <a:picLocks noChangeAspect="1"/>
            </p:cNvPicPr>
            <p:nvPr/>
          </p:nvPicPr>
          <p:blipFill rotWithShape="1">
            <a:blip r:embed="rId10">
              <a:clrChange>
                <a:clrFrom>
                  <a:srgbClr val="FFFFFF"/>
                </a:clrFrom>
                <a:clrTo>
                  <a:srgbClr val="FFFFFF">
                    <a:alpha val="0"/>
                  </a:srgbClr>
                </a:clrTo>
              </a:clrChange>
              <a:alphaModFix/>
            </a:blip>
            <a:srcRect t="36578" b="43155"/>
            <a:stretch/>
          </p:blipFill>
          <p:spPr>
            <a:xfrm>
              <a:off x="7677637" y="3438117"/>
              <a:ext cx="1927144" cy="923046"/>
            </a:xfrm>
            <a:prstGeom prst="rect">
              <a:avLst/>
            </a:prstGeom>
            <a:noFill/>
            <a:ln w="9525" cap="flat" cmpd="sng">
              <a:noFill/>
              <a:prstDash val="solid"/>
              <a:round/>
              <a:headEnd type="none" w="sm" len="sm"/>
              <a:tailEnd type="none" w="sm" len="sm"/>
            </a:ln>
          </p:spPr>
        </p:pic>
        <p:sp>
          <p:nvSpPr>
            <p:cNvPr id="42" name="Google Shape;590;p17">
              <a:extLst>
                <a:ext uri="{FF2B5EF4-FFF2-40B4-BE49-F238E27FC236}">
                  <a16:creationId xmlns:a16="http://schemas.microsoft.com/office/drawing/2014/main" id="{AE852A49-1B6F-4CA6-87BF-6AC0B6012733}"/>
                </a:ext>
              </a:extLst>
            </p:cNvPr>
            <p:cNvSpPr/>
            <p:nvPr/>
          </p:nvSpPr>
          <p:spPr>
            <a:xfrm>
              <a:off x="8296480" y="5351770"/>
              <a:ext cx="685408" cy="514056"/>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grpSp>
        <p:nvGrpSpPr>
          <p:cNvPr id="43" name="図形グループ 42"/>
          <p:cNvGrpSpPr/>
          <p:nvPr/>
        </p:nvGrpSpPr>
        <p:grpSpPr>
          <a:xfrm>
            <a:off x="7307239" y="4674794"/>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609"/>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E5E9E79E-C08C-4729-80B0-25BF42EA93D8}"/>
              </a:ext>
            </a:extLst>
          </p:cNvPr>
          <p:cNvGraphicFramePr>
            <a:graphicFrameLocks noChangeAspect="1"/>
          </p:cNvGraphicFramePr>
          <p:nvPr>
            <p:custDataLst>
              <p:tags r:id="rId2"/>
            </p:custDataLst>
            <p:extLst>
              <p:ext uri="{D42A27DB-BD31-4B8C-83A1-F6EECF244321}">
                <p14:modId xmlns:p14="http://schemas.microsoft.com/office/powerpoint/2010/main" val="2227092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2"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10" name="Google Shape;610;p16" descr="登録しておいたクレジットカードを選択している画像"/>
          <p:cNvPicPr preferRelativeResize="0">
            <a:picLocks noChangeAspect="1"/>
          </p:cNvPicPr>
          <p:nvPr/>
        </p:nvPicPr>
        <p:blipFill>
          <a:blip r:embed="rId7">
            <a:alphaModFix/>
          </a:blip>
          <a:stretch>
            <a:fillRect/>
          </a:stretch>
        </p:blipFill>
        <p:spPr>
          <a:xfrm>
            <a:off x="6195551" y="1991525"/>
            <a:ext cx="1751799" cy="4140000"/>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611" name="Google Shape;611;p16" descr="オンライン診療申込画面の下部に支払い方法が表示されている画像"/>
          <p:cNvPicPr preferRelativeResize="0">
            <a:picLocks noChangeAspect="1"/>
          </p:cNvPicPr>
          <p:nvPr/>
        </p:nvPicPr>
        <p:blipFill>
          <a:blip r:embed="rId7">
            <a:alphaModFix/>
          </a:blip>
          <a:stretch>
            <a:fillRect/>
          </a:stretch>
        </p:blipFill>
        <p:spPr>
          <a:xfrm>
            <a:off x="2948865" y="1991525"/>
            <a:ext cx="1751799"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613" name="Google Shape;613;p16"/>
          <p:cNvSpPr txBox="1"/>
          <p:nvPr/>
        </p:nvSpPr>
        <p:spPr>
          <a:xfrm>
            <a:off x="323791" y="1905000"/>
            <a:ext cx="2520000" cy="1897299"/>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Clr>
                <a:srgbClr val="000000"/>
              </a:buClr>
              <a:buSzPts val="2400"/>
              <a:buFont typeface="Arial"/>
              <a:buNone/>
              <a:tabLst>
                <a:tab pos="355600" algn="l"/>
              </a:tabLst>
            </a:pPr>
            <a:r>
              <a:rPr lang="ja-JP" sz="2400" b="1" i="0" u="none" strike="noStrike" cap="none">
                <a:solidFill>
                  <a:srgbClr val="009650"/>
                </a:solidFill>
                <a:latin typeface="Meiryo"/>
                <a:ea typeface="Meiryo"/>
                <a:cs typeface="Meiryo"/>
                <a:sym typeface="Meiryo"/>
              </a:rPr>
              <a:t>❶</a:t>
            </a:r>
            <a:r>
              <a:rPr lang="en-US" altLang="ja-JP" sz="2400" b="1" i="0" u="none" strike="noStrike" cap="none">
                <a:solidFill>
                  <a:srgbClr val="009650"/>
                </a:solidFill>
                <a:latin typeface="Meiryo"/>
                <a:ea typeface="Meiryo"/>
                <a:cs typeface="Meiryo"/>
                <a:sym typeface="Meiryo"/>
              </a:rPr>
              <a:t>	</a:t>
            </a:r>
            <a:r>
              <a:rPr lang="en-US" altLang="ja-JP" sz="1800" b="1" i="0" u="none" strike="noStrike" cap="none">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支払い</a:t>
            </a:r>
            <a:r>
              <a:rPr lang="ja-JP" sz="1800" b="1" dirty="0">
                <a:solidFill>
                  <a:schemeClr val="dk1"/>
                </a:solidFill>
                <a:latin typeface="Meiryo"/>
                <a:ea typeface="Meiryo"/>
                <a:cs typeface="Meiryo"/>
                <a:sym typeface="Meiryo"/>
              </a:rPr>
              <a:t>方法</a:t>
            </a:r>
            <a:r>
              <a:rPr lang="en-US" altLang="ja-JP" sz="1800" b="1" i="0" u="none" strike="noStrike" cap="none"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a:t>
            </a:r>
            <a:endParaRPr lang="en-US" altLang="ja-JP" sz="1800" b="1" dirty="0">
              <a:solidFill>
                <a:schemeClr val="dk1"/>
              </a:solidFill>
              <a:latin typeface="Meiryo"/>
              <a:ea typeface="Meiryo"/>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確認する</a:t>
            </a:r>
            <a:endParaRPr sz="1800" b="1" i="0" u="none" strike="noStrike" cap="none" dirty="0">
              <a:solidFill>
                <a:schemeClr val="dk1"/>
              </a:solidFill>
              <a:latin typeface="Meiryo"/>
              <a:ea typeface="Meiryo"/>
              <a:cs typeface="Meiryo"/>
              <a:sym typeface="Meiryo"/>
            </a:endParaRPr>
          </a:p>
          <a:p>
            <a:pPr marL="9525" marR="4344">
              <a:spcBef>
                <a:spcPts val="85"/>
              </a:spcBef>
              <a:buSzPts val="2400"/>
              <a:tabLst>
                <a:tab pos="355600"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登録してお</a:t>
            </a:r>
            <a:r>
              <a:rPr lang="ja-JP" altLang="ja-JP" sz="1800" b="1" dirty="0">
                <a:solidFill>
                  <a:schemeClr val="dk1"/>
                </a:solidFill>
                <a:latin typeface="Meiryo"/>
                <a:ea typeface="Meiryo"/>
                <a:cs typeface="Meiryo"/>
                <a:sym typeface="Meiryo"/>
              </a:rPr>
              <a:t>いた</a:t>
            </a:r>
            <a:endParaRPr lang="en-US" altLang="ja-JP" sz="1800" b="1" dirty="0">
              <a:solidFill>
                <a:schemeClr val="dk1"/>
              </a:solidFill>
              <a:latin typeface="Meiryo"/>
              <a:ea typeface="Meiryo"/>
              <a:cs typeface="Meiryo"/>
              <a:sym typeface="Meiryo"/>
            </a:endParaRPr>
          </a:p>
          <a:p>
            <a:pPr marL="9525" marR="4344">
              <a:spcBef>
                <a:spcPts val="85"/>
              </a:spcBef>
              <a:buSzPts val="2400"/>
              <a:tabLst>
                <a:tab pos="355600" algn="l"/>
              </a:tabLst>
            </a:pPr>
            <a:r>
              <a:rPr lang="en-US" altLang="ja-JP" sz="1800" b="1" i="0" u="none" strike="noStrike" cap="none" dirty="0">
                <a:solidFill>
                  <a:schemeClr val="dk1"/>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クレジットカード</a:t>
            </a:r>
            <a:r>
              <a:rPr lang="ja-JP" altLang="en-US" sz="1800" b="1" dirty="0">
                <a:solidFill>
                  <a:schemeClr val="dk1"/>
                </a:solidFill>
                <a:latin typeface="Meiryo"/>
                <a:ea typeface="Meiryo"/>
                <a:cs typeface="Meiryo"/>
                <a:sym typeface="Meiryo"/>
              </a:rPr>
              <a:t>を</a:t>
            </a:r>
            <a:endParaRPr lang="en-US" altLang="ja-JP" sz="1800" b="1" dirty="0">
              <a:solidFill>
                <a:schemeClr val="dk1"/>
              </a:solidFill>
              <a:latin typeface="Meiryo"/>
              <a:ea typeface="Meiryo"/>
              <a:cs typeface="Meiryo"/>
              <a:sym typeface="Meiryo"/>
            </a:endParaRPr>
          </a:p>
          <a:p>
            <a:pPr marL="9525" marR="4344">
              <a:spcBef>
                <a:spcPts val="85"/>
              </a:spcBef>
              <a:buSzPts val="2400"/>
              <a:tabLst>
                <a:tab pos="355600" algn="l"/>
              </a:tabLst>
            </a:pPr>
            <a:r>
              <a:rPr lang="en-US" altLang="ja-JP" sz="1800" b="1" dirty="0">
                <a:solidFill>
                  <a:schemeClr val="dk1"/>
                </a:solidFill>
                <a:latin typeface="Meiryo"/>
                <a:ea typeface="Meiryo"/>
                <a:cs typeface="Meiryo"/>
                <a:sym typeface="Meiryo"/>
              </a:rPr>
              <a:t>	</a:t>
            </a:r>
            <a:r>
              <a:rPr lang="ja-JP" altLang="en-US" sz="1800" b="1" dirty="0">
                <a:solidFill>
                  <a:schemeClr val="dk1"/>
                </a:solidFill>
                <a:latin typeface="Meiryo"/>
                <a:ea typeface="Meiryo"/>
                <a:cs typeface="Meiryo"/>
                <a:sym typeface="Meiryo"/>
              </a:rPr>
              <a:t>選択</a:t>
            </a:r>
          </a:p>
          <a:p>
            <a:pPr marL="9525" marR="4344">
              <a:spcBef>
                <a:spcPts val="85"/>
              </a:spcBef>
              <a:buSzPts val="2400"/>
              <a:tabLst>
                <a:tab pos="355600" algn="l"/>
              </a:tabLst>
            </a:pPr>
            <a:endParaRPr sz="1800" b="1" i="0" u="none" strike="noStrike" cap="none" dirty="0">
              <a:solidFill>
                <a:schemeClr val="dk1"/>
              </a:solidFill>
              <a:latin typeface="Meiryo"/>
              <a:ea typeface="Meiryo"/>
              <a:cs typeface="Meiryo"/>
              <a:sym typeface="Meiryo"/>
            </a:endParaRPr>
          </a:p>
        </p:txBody>
      </p:sp>
      <p:sp>
        <p:nvSpPr>
          <p:cNvPr id="614" name="Google Shape;614;p16"/>
          <p:cNvSpPr txBox="1"/>
          <p:nvPr/>
        </p:nvSpPr>
        <p:spPr>
          <a:xfrm>
            <a:off x="2944799" y="1447917"/>
            <a:ext cx="1836000" cy="2265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a:solidFill>
                  <a:srgbClr val="009650"/>
                </a:solidFill>
                <a:latin typeface="Meiryo"/>
                <a:ea typeface="Meiryo"/>
                <a:cs typeface="Meiryo"/>
                <a:sym typeface="Meiryo"/>
              </a:rPr>
              <a:t>支払い方法を</a:t>
            </a:r>
            <a:r>
              <a:rPr lang="ja-JP" b="1">
                <a:solidFill>
                  <a:srgbClr val="009650"/>
                </a:solidFill>
                <a:latin typeface="Meiryo"/>
                <a:ea typeface="Meiryo"/>
                <a:cs typeface="Meiryo"/>
                <a:sym typeface="Meiryo"/>
              </a:rPr>
              <a:t>選択</a:t>
            </a:r>
            <a:endParaRPr sz="1400" b="1" i="0" u="none" strike="noStrike" cap="none">
              <a:solidFill>
                <a:srgbClr val="009650"/>
              </a:solidFill>
              <a:latin typeface="Meiryo"/>
              <a:ea typeface="Meiryo"/>
              <a:cs typeface="Meiryo"/>
              <a:sym typeface="Meiryo"/>
            </a:endParaRPr>
          </a:p>
        </p:txBody>
      </p:sp>
      <p:sp>
        <p:nvSpPr>
          <p:cNvPr id="615" name="Google Shape;615;p16"/>
          <p:cNvSpPr txBox="1"/>
          <p:nvPr/>
        </p:nvSpPr>
        <p:spPr>
          <a:xfrm>
            <a:off x="6187384" y="1431905"/>
            <a:ext cx="2016000" cy="441843"/>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Meiryo"/>
                <a:ea typeface="Meiryo"/>
                <a:cs typeface="Meiryo"/>
                <a:sym typeface="Meiryo"/>
              </a:rPr>
              <a:t>あらかじめ登録していた</a:t>
            </a:r>
            <a:endParaRPr sz="1400" b="1" i="0" u="none" strike="noStrike" cap="none">
              <a:solidFill>
                <a:srgbClr val="009650"/>
              </a:solidFill>
              <a:latin typeface="Meiryo"/>
              <a:ea typeface="Meiryo"/>
              <a:cs typeface="Meiryo"/>
              <a:sym typeface="Meiryo"/>
            </a:endParaRPr>
          </a:p>
          <a:p>
            <a:pPr marL="10860"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Meiryo"/>
                <a:ea typeface="Meiryo"/>
                <a:cs typeface="Meiryo"/>
                <a:sym typeface="Meiryo"/>
              </a:rPr>
              <a:t>カードを選択</a:t>
            </a:r>
            <a:endParaRPr sz="1400" b="1" i="0" u="none" strike="noStrike" cap="none">
              <a:solidFill>
                <a:srgbClr val="009650"/>
              </a:solidFill>
              <a:latin typeface="Meiryo"/>
              <a:ea typeface="Meiryo"/>
              <a:cs typeface="Meiryo"/>
              <a:sym typeface="Meiryo"/>
            </a:endParaRPr>
          </a:p>
        </p:txBody>
      </p:sp>
      <p:sp>
        <p:nvSpPr>
          <p:cNvPr id="616" name="Google Shape;616;p16"/>
          <p:cNvSpPr/>
          <p:nvPr/>
        </p:nvSpPr>
        <p:spPr>
          <a:xfrm>
            <a:off x="2988607" y="4812379"/>
            <a:ext cx="1692000" cy="108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620" name="Google Shape;620;p16"/>
          <p:cNvSpPr/>
          <p:nvPr/>
        </p:nvSpPr>
        <p:spPr>
          <a:xfrm>
            <a:off x="6231055" y="5188705"/>
            <a:ext cx="1692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3"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2</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支払い方法の選択</a:t>
            </a:r>
            <a:endParaRPr kumimoji="0" lang="ja-JP" altLang="en-US" sz="3200" b="0" kern="0" dirty="0"/>
          </a:p>
        </p:txBody>
      </p:sp>
      <p:grpSp>
        <p:nvGrpSpPr>
          <p:cNvPr id="24" name="図形グループ 23"/>
          <p:cNvGrpSpPr>
            <a:grpSpLocks noChangeAspect="1"/>
          </p:cNvGrpSpPr>
          <p:nvPr/>
        </p:nvGrpSpPr>
        <p:grpSpPr>
          <a:xfrm>
            <a:off x="5196435" y="3167090"/>
            <a:ext cx="720000" cy="540000"/>
            <a:chOff x="3355262" y="5469690"/>
            <a:chExt cx="720000" cy="540000"/>
          </a:xfrm>
        </p:grpSpPr>
        <p:cxnSp>
          <p:nvCxnSpPr>
            <p:cNvPr id="25" name="カギ線コネクタ 24"/>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27" name="図形グループ 26"/>
          <p:cNvGrpSpPr/>
          <p:nvPr/>
        </p:nvGrpSpPr>
        <p:grpSpPr>
          <a:xfrm>
            <a:off x="6080620" y="5041827"/>
            <a:ext cx="296586" cy="293005"/>
            <a:chOff x="3546641" y="3995693"/>
            <a:chExt cx="296586" cy="293005"/>
          </a:xfrm>
        </p:grpSpPr>
        <p:sp>
          <p:nvSpPr>
            <p:cNvPr id="28" name="円/楕円 2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2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0" name="図形グループ 29"/>
          <p:cNvGrpSpPr/>
          <p:nvPr/>
        </p:nvGrpSpPr>
        <p:grpSpPr>
          <a:xfrm>
            <a:off x="2843174" y="4662120"/>
            <a:ext cx="296587" cy="293005"/>
            <a:chOff x="2897417" y="3995693"/>
            <a:chExt cx="296587" cy="293005"/>
          </a:xfrm>
        </p:grpSpPr>
        <p:sp>
          <p:nvSpPr>
            <p:cNvPr id="31" name="円/楕円 3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テキスト ボックス 3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633"/>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81A3A53-469C-4CCF-BA01-33B47009B8FA}"/>
              </a:ext>
            </a:extLst>
          </p:cNvPr>
          <p:cNvGraphicFramePr>
            <a:graphicFrameLocks noChangeAspect="1"/>
          </p:cNvGraphicFramePr>
          <p:nvPr>
            <p:custDataLst>
              <p:tags r:id="rId2"/>
            </p:custDataLst>
            <p:extLst>
              <p:ext uri="{D42A27DB-BD31-4B8C-83A1-F6EECF244321}">
                <p14:modId xmlns:p14="http://schemas.microsoft.com/office/powerpoint/2010/main" val="3044093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9"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34" name="Google Shape;634;p18" descr="希望の薬局の画面で「この薬局を選択」をタップしている画像"/>
          <p:cNvPicPr preferRelativeResize="0">
            <a:picLocks noChangeAspect="1"/>
          </p:cNvPicPr>
          <p:nvPr/>
        </p:nvPicPr>
        <p:blipFill>
          <a:blip r:embed="rId7">
            <a:alphaModFix/>
          </a:blip>
          <a:stretch>
            <a:fillRect/>
          </a:stretch>
        </p:blipFill>
        <p:spPr>
          <a:xfrm>
            <a:off x="6916658" y="1992051"/>
            <a:ext cx="1620000" cy="3507802"/>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635" name="Google Shape;635;p18" descr="希望の薬局を選択するための薬局の一覧が表示されている画面の画像"/>
          <p:cNvPicPr preferRelativeResize="0">
            <a:picLocks noChangeAspect="1"/>
          </p:cNvPicPr>
          <p:nvPr/>
        </p:nvPicPr>
        <p:blipFill>
          <a:blip r:embed="rId8">
            <a:alphaModFix/>
          </a:blip>
          <a:stretch>
            <a:fillRect/>
          </a:stretch>
        </p:blipFill>
        <p:spPr>
          <a:xfrm>
            <a:off x="4758315" y="1992051"/>
            <a:ext cx="1620000" cy="3507828"/>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636" name="Google Shape;636;p18" descr="お薬の受け取り方法画面で「希望の薬局を選択」をタップしている画像"/>
          <p:cNvPicPr preferRelativeResize="0"/>
          <p:nvPr/>
        </p:nvPicPr>
        <p:blipFill>
          <a:blip r:embed="rId9">
            <a:alphaModFix/>
          </a:blip>
          <a:stretch>
            <a:fillRect/>
          </a:stretch>
        </p:blipFill>
        <p:spPr>
          <a:xfrm>
            <a:off x="2601417" y="1992051"/>
            <a:ext cx="1619075" cy="2016295"/>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638" name="Google Shape;638;p18"/>
          <p:cNvSpPr txBox="1"/>
          <p:nvPr/>
        </p:nvSpPr>
        <p:spPr>
          <a:xfrm>
            <a:off x="2566707" y="1613874"/>
            <a:ext cx="1945800" cy="2265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Meiryo"/>
                <a:ea typeface="Meiryo"/>
                <a:cs typeface="Meiryo"/>
                <a:sym typeface="Meiryo"/>
              </a:rPr>
              <a:t>薬局を選択する</a:t>
            </a:r>
            <a:endParaRPr sz="1400" b="1" i="0" u="none" strike="noStrike" cap="none">
              <a:solidFill>
                <a:srgbClr val="009650"/>
              </a:solidFill>
              <a:latin typeface="Meiryo"/>
              <a:ea typeface="Meiryo"/>
              <a:cs typeface="Meiryo"/>
              <a:sym typeface="Meiryo"/>
            </a:endParaRPr>
          </a:p>
        </p:txBody>
      </p:sp>
      <p:sp>
        <p:nvSpPr>
          <p:cNvPr id="639" name="Google Shape;639;p18"/>
          <p:cNvSpPr txBox="1"/>
          <p:nvPr/>
        </p:nvSpPr>
        <p:spPr>
          <a:xfrm>
            <a:off x="323791" y="1909234"/>
            <a:ext cx="2374800" cy="3774736"/>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❶</a:t>
            </a:r>
            <a:r>
              <a:rPr lang="en-US" altLang="ja-JP" sz="2400" b="1" i="0" u="none" strike="noStrike" cap="none" dirty="0">
                <a:solidFill>
                  <a:srgbClr val="009650"/>
                </a:solidFill>
                <a:latin typeface="Meiryo"/>
                <a:ea typeface="Meiryo"/>
                <a:cs typeface="Meiryo"/>
                <a:sym typeface="Meiryo"/>
              </a:rPr>
              <a:t>	</a:t>
            </a:r>
            <a:r>
              <a:rPr lang="en-US" altLang="ja-JP" sz="1800" b="1" dirty="0">
                <a:solidFill>
                  <a:schemeClr val="tx1"/>
                </a:solidFill>
                <a:latin typeface="Meiryo"/>
                <a:ea typeface="Meiryo"/>
                <a:cs typeface="Meiryo"/>
                <a:sym typeface="Meiryo"/>
              </a:rPr>
              <a:t>｢</a:t>
            </a:r>
            <a:r>
              <a:rPr lang="ja-JP" sz="1800" b="1" dirty="0">
                <a:solidFill>
                  <a:schemeClr val="tx1"/>
                </a:solidFill>
                <a:latin typeface="Meiryo"/>
                <a:ea typeface="Meiryo"/>
                <a:cs typeface="Meiryo"/>
                <a:sym typeface="Meiryo"/>
              </a:rPr>
              <a:t>希望の薬局を</a:t>
            </a:r>
            <a:endParaRPr lang="en-US" altLang="ja-JP" sz="1800" b="1" dirty="0">
              <a:solidFill>
                <a:schemeClr val="tx1"/>
              </a:solidFill>
              <a:latin typeface="Meiryo"/>
              <a:ea typeface="Meiryo"/>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dirty="0">
                <a:solidFill>
                  <a:schemeClr val="tx1"/>
                </a:solidFill>
                <a:latin typeface="Meiryo"/>
                <a:ea typeface="Meiryo"/>
                <a:cs typeface="Meiryo"/>
                <a:sym typeface="Meiryo"/>
              </a:rPr>
              <a:t>	</a:t>
            </a:r>
            <a:r>
              <a:rPr lang="ja-JP" sz="1800" b="1" dirty="0">
                <a:solidFill>
                  <a:schemeClr val="tx1"/>
                </a:solidFill>
                <a:latin typeface="Meiryo"/>
                <a:ea typeface="Meiryo"/>
                <a:cs typeface="Meiryo"/>
                <a:sym typeface="Meiryo"/>
              </a:rPr>
              <a:t>選択</a:t>
            </a:r>
            <a:r>
              <a:rPr lang="en-US" altLang="ja-JP" sz="1800" b="1" i="0" u="none" strike="noStrike" cap="none" dirty="0">
                <a:solidFill>
                  <a:schemeClr val="tx1"/>
                </a:solidFill>
                <a:latin typeface="Meiryo"/>
                <a:ea typeface="Meiryo"/>
                <a:cs typeface="Meiryo"/>
                <a:sym typeface="Meiryo"/>
              </a:rPr>
              <a:t>｣</a:t>
            </a:r>
            <a:r>
              <a:rPr lang="ja-JP" sz="1800" b="1" i="0" u="none" strike="noStrike" cap="none" dirty="0">
                <a:solidFill>
                  <a:schemeClr val="tx1"/>
                </a:solidFill>
                <a:latin typeface="Meiryo"/>
                <a:ea typeface="Meiryo"/>
                <a:cs typeface="Meiryo"/>
                <a:sym typeface="Meiryo"/>
              </a:rPr>
              <a:t>をタップ</a:t>
            </a:r>
            <a:endParaRPr sz="1800" b="1" i="0" u="none" strike="noStrike" cap="none" dirty="0">
              <a:solidFill>
                <a:schemeClr val="tx1"/>
              </a:solidFill>
              <a:latin typeface="Meiryo"/>
              <a:ea typeface="Meiryo"/>
              <a:cs typeface="Meiryo"/>
              <a:sym typeface="Meiryo"/>
            </a:endParaRPr>
          </a:p>
          <a:p>
            <a:pPr marL="9525" marR="4343" lvl="2" algn="l" rtl="0">
              <a:spcBef>
                <a:spcPts val="0"/>
              </a:spcBef>
              <a:spcAft>
                <a:spcPts val="0"/>
              </a:spcAft>
              <a:buClr>
                <a:srgbClr val="000000"/>
              </a:buClr>
              <a:buSzPts val="2400"/>
              <a:buFont typeface="Arial"/>
              <a:buNone/>
              <a:tabLst>
                <a:tab pos="355600" algn="l"/>
              </a:tabLst>
            </a:pPr>
            <a:r>
              <a:rPr lang="en-US" altLang="ja-JP" sz="1400" b="1" i="0" u="none" strike="noStrike" cap="none" dirty="0">
                <a:solidFill>
                  <a:schemeClr val="tx1"/>
                </a:solidFill>
                <a:latin typeface="Meiryo"/>
                <a:ea typeface="Meiryo"/>
                <a:cs typeface="Meiryo"/>
                <a:sym typeface="Meiryo"/>
              </a:rPr>
              <a:t>	</a:t>
            </a:r>
            <a:r>
              <a:rPr lang="ja-JP" sz="1400" b="1" i="0" u="none" strike="noStrike" cap="none" dirty="0">
                <a:solidFill>
                  <a:schemeClr val="tx1"/>
                </a:solidFill>
                <a:latin typeface="Meiryo"/>
                <a:ea typeface="Meiryo"/>
                <a:cs typeface="Meiryo"/>
                <a:sym typeface="Meiryo"/>
              </a:rPr>
              <a:t>または</a:t>
            </a:r>
            <a:r>
              <a:rPr lang="en-US" altLang="ja-JP" sz="1400" b="1" i="0" u="none" strike="noStrike" cap="none" dirty="0">
                <a:solidFill>
                  <a:schemeClr val="tx1"/>
                </a:solidFill>
                <a:latin typeface="Meiryo"/>
                <a:ea typeface="Meiryo"/>
                <a:cs typeface="Meiryo"/>
                <a:sym typeface="Meiryo"/>
              </a:rPr>
              <a:t>｢</a:t>
            </a:r>
            <a:r>
              <a:rPr lang="ja-JP" b="1" dirty="0">
                <a:solidFill>
                  <a:schemeClr val="tx1"/>
                </a:solidFill>
                <a:latin typeface="Meiryo"/>
                <a:ea typeface="Meiryo"/>
                <a:cs typeface="Meiryo"/>
                <a:sym typeface="Meiryo"/>
              </a:rPr>
              <a:t>希望の</a:t>
            </a:r>
            <a:endParaRPr lang="en-US" altLang="ja-JP" b="1" dirty="0">
              <a:solidFill>
                <a:schemeClr val="tx1"/>
              </a:solidFill>
              <a:latin typeface="Meiryo"/>
              <a:ea typeface="Meiryo"/>
              <a:cs typeface="Meiryo"/>
              <a:sym typeface="Meiryo"/>
            </a:endParaRPr>
          </a:p>
          <a:p>
            <a:pPr marL="9525" marR="4343" lvl="2" algn="l" rtl="0">
              <a:spcBef>
                <a:spcPts val="0"/>
              </a:spcBef>
              <a:spcAft>
                <a:spcPts val="0"/>
              </a:spcAft>
              <a:buClr>
                <a:srgbClr val="000000"/>
              </a:buClr>
              <a:buSzPts val="2400"/>
              <a:buFont typeface="Arial"/>
              <a:buNone/>
              <a:tabLst>
                <a:tab pos="355600" algn="l"/>
              </a:tabLst>
            </a:pPr>
            <a:r>
              <a:rPr lang="en-US" altLang="ja-JP" b="1" dirty="0">
                <a:solidFill>
                  <a:schemeClr val="tx1"/>
                </a:solidFill>
                <a:latin typeface="Meiryo"/>
                <a:ea typeface="Meiryo"/>
                <a:cs typeface="Meiryo"/>
                <a:sym typeface="Meiryo"/>
              </a:rPr>
              <a:t>	</a:t>
            </a:r>
            <a:r>
              <a:rPr lang="ja-JP" b="1" dirty="0">
                <a:solidFill>
                  <a:schemeClr val="tx1"/>
                </a:solidFill>
                <a:latin typeface="Meiryo"/>
                <a:ea typeface="Meiryo"/>
                <a:cs typeface="Meiryo"/>
                <a:sym typeface="Meiryo"/>
              </a:rPr>
              <a:t>薬局なし</a:t>
            </a:r>
            <a:r>
              <a:rPr lang="en-US" altLang="ja-JP" b="1" dirty="0">
                <a:solidFill>
                  <a:schemeClr val="tx1"/>
                </a:solidFill>
                <a:latin typeface="Meiryo"/>
                <a:ea typeface="Meiryo"/>
                <a:cs typeface="Meiryo"/>
                <a:sym typeface="Meiryo"/>
              </a:rPr>
              <a:t>｣</a:t>
            </a:r>
            <a:r>
              <a:rPr lang="ja-JP" altLang="en-US" b="1" dirty="0">
                <a:solidFill>
                  <a:schemeClr val="tx1"/>
                </a:solidFill>
                <a:latin typeface="Meiryo"/>
                <a:ea typeface="Meiryo"/>
                <a:cs typeface="Meiryo"/>
                <a:sym typeface="Meiryo"/>
              </a:rPr>
              <a:t>をタップ</a:t>
            </a:r>
            <a:endParaRPr sz="1200" b="1" i="0" u="none" strike="sngStrike" cap="none" dirty="0">
              <a:solidFill>
                <a:schemeClr val="tx1"/>
              </a:solidFill>
              <a:latin typeface="Meiryo"/>
              <a:ea typeface="Meiryo"/>
              <a:cs typeface="Meiryo"/>
              <a:sym typeface="Meiryo"/>
            </a:endParaRPr>
          </a:p>
          <a:p>
            <a:pPr marL="9525" marR="4344" lvl="2" algn="l" rtl="0">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r>
              <a:rPr lang="ja-JP" sz="1800" b="1" i="0" u="none" strike="noStrike" cap="none" dirty="0">
                <a:solidFill>
                  <a:srgbClr val="000000"/>
                </a:solidFill>
                <a:latin typeface="Meiryo"/>
                <a:ea typeface="Meiryo"/>
                <a:cs typeface="Meiryo"/>
                <a:sym typeface="Meiryo"/>
              </a:rPr>
              <a:t>ご希望の薬局を</a:t>
            </a:r>
            <a:endParaRPr lang="en-US" altLang="ja-JP" sz="1800" b="1" i="0" u="none" strike="noStrike" cap="none" dirty="0">
              <a:solidFill>
                <a:srgbClr val="000000"/>
              </a:solidFill>
              <a:latin typeface="Meiryo"/>
              <a:ea typeface="Meiryo"/>
              <a:cs typeface="Meiryo"/>
              <a:sym typeface="Meiryo"/>
            </a:endParaRPr>
          </a:p>
          <a:p>
            <a:pPr marL="9525" marR="4344" lvl="2" algn="l" rtl="0">
              <a:spcBef>
                <a:spcPts val="0"/>
              </a:spcBef>
              <a:spcAft>
                <a:spcPts val="0"/>
              </a:spcAft>
              <a:buClr>
                <a:srgbClr val="000000"/>
              </a:buClr>
              <a:buSzPts val="2400"/>
              <a:buFont typeface="Arial"/>
              <a:buNone/>
              <a:tabLst>
                <a:tab pos="355600" algn="l"/>
              </a:tabLst>
            </a:pPr>
            <a:r>
              <a:rPr lang="en-US" altLang="ja-JP" sz="1800" b="1" dirty="0">
                <a:latin typeface="Meiryo"/>
                <a:ea typeface="Meiryo"/>
                <a:cs typeface="Meiryo"/>
                <a:sym typeface="Meiryo"/>
              </a:rPr>
              <a:t>	</a:t>
            </a:r>
            <a:r>
              <a:rPr lang="ja-JP" sz="1800" b="1" i="0" u="none" strike="noStrike" cap="none" dirty="0">
                <a:solidFill>
                  <a:srgbClr val="000000"/>
                </a:solidFill>
                <a:latin typeface="Meiryo"/>
                <a:ea typeface="Meiryo"/>
                <a:cs typeface="Meiryo"/>
                <a:sym typeface="Meiryo"/>
              </a:rPr>
              <a:t>選択</a:t>
            </a:r>
            <a:endParaRPr sz="1800" b="1" i="0" u="none" strike="noStrike" cap="none" dirty="0">
              <a:solidFill>
                <a:srgbClr val="000000"/>
              </a:solidFill>
              <a:latin typeface="Meiryo"/>
              <a:ea typeface="Meiryo"/>
              <a:cs typeface="Meiryo"/>
              <a:sym typeface="Meiryo"/>
            </a:endParaRPr>
          </a:p>
          <a:p>
            <a:pPr marL="9525" marR="4344" lvl="0" algn="l" rtl="0">
              <a:spcBef>
                <a:spcPts val="85"/>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❸</a:t>
            </a:r>
            <a:r>
              <a:rPr lang="en-US" altLang="ja-JP" sz="2400" b="1" i="0" u="none" strike="noStrike" cap="none" dirty="0">
                <a:solidFill>
                  <a:srgbClr val="009650"/>
                </a:solidFill>
                <a:latin typeface="Meiryo"/>
                <a:ea typeface="Meiryo"/>
                <a:cs typeface="Meiryo"/>
                <a:sym typeface="Meiryo"/>
              </a:rPr>
              <a:t>	</a:t>
            </a:r>
            <a:r>
              <a:rPr lang="en-US" altLang="ja-JP" sz="1800" b="1" dirty="0">
                <a:solidFill>
                  <a:schemeClr val="tx1"/>
                </a:solidFill>
                <a:latin typeface="Meiryo"/>
                <a:ea typeface="Meiryo"/>
                <a:cs typeface="Meiryo"/>
                <a:sym typeface="Meiryo"/>
              </a:rPr>
              <a:t>｢</a:t>
            </a:r>
            <a:r>
              <a:rPr lang="ja-JP" sz="1800" b="1" i="0" u="none" strike="noStrike" cap="none" dirty="0">
                <a:solidFill>
                  <a:schemeClr val="tx1"/>
                </a:solidFill>
                <a:latin typeface="Meiryo"/>
                <a:ea typeface="Meiryo"/>
                <a:cs typeface="Meiryo"/>
                <a:sym typeface="Meiryo"/>
              </a:rPr>
              <a:t>この薬局</a:t>
            </a:r>
            <a:r>
              <a:rPr lang="ja-JP" sz="1800" b="1" dirty="0">
                <a:solidFill>
                  <a:schemeClr val="tx1"/>
                </a:solidFill>
                <a:latin typeface="Meiryo"/>
                <a:ea typeface="Meiryo"/>
                <a:cs typeface="Meiryo"/>
                <a:sym typeface="Meiryo"/>
              </a:rPr>
              <a:t>を選択</a:t>
            </a:r>
            <a:r>
              <a:rPr lang="en-US" altLang="ja-JP" sz="1800" b="1" i="0" u="none" strike="noStrike" cap="none" dirty="0">
                <a:solidFill>
                  <a:schemeClr val="tx1"/>
                </a:solidFill>
                <a:latin typeface="Meiryo"/>
                <a:ea typeface="Meiryo"/>
                <a:cs typeface="Meiryo"/>
                <a:sym typeface="Meiryo"/>
              </a:rPr>
              <a:t>｣</a:t>
            </a:r>
          </a:p>
          <a:p>
            <a:pPr marL="9525" marR="4344" lvl="0" algn="l" rtl="0">
              <a:spcBef>
                <a:spcPts val="85"/>
              </a:spcBef>
              <a:spcAft>
                <a:spcPts val="0"/>
              </a:spcAft>
              <a:buClr>
                <a:srgbClr val="000000"/>
              </a:buClr>
              <a:buSzPts val="2400"/>
              <a:buFont typeface="Arial"/>
              <a:buNone/>
              <a:tabLst>
                <a:tab pos="355600" algn="l"/>
              </a:tabLst>
            </a:pPr>
            <a:r>
              <a:rPr lang="en-US" altLang="ja-JP" sz="1800" b="1" dirty="0">
                <a:solidFill>
                  <a:schemeClr val="tx1"/>
                </a:solidFill>
                <a:latin typeface="Meiryo"/>
                <a:ea typeface="Meiryo"/>
                <a:cs typeface="Meiryo"/>
                <a:sym typeface="Meiryo"/>
              </a:rPr>
              <a:t>	</a:t>
            </a:r>
            <a:r>
              <a:rPr lang="ja-JP" sz="1800" b="1" i="0" u="none" strike="noStrike" cap="none" dirty="0">
                <a:solidFill>
                  <a:schemeClr val="tx1"/>
                </a:solidFill>
                <a:latin typeface="Meiryo"/>
                <a:ea typeface="Meiryo"/>
                <a:cs typeface="Meiryo"/>
                <a:sym typeface="Meiryo"/>
              </a:rPr>
              <a:t>をタップ</a:t>
            </a:r>
            <a:endParaRPr lang="en-US" altLang="ja-JP" sz="1800" b="1" i="0" u="none" strike="noStrike" cap="none" dirty="0">
              <a:solidFill>
                <a:schemeClr val="tx1"/>
              </a:solidFill>
              <a:latin typeface="Meiryo"/>
              <a:ea typeface="Meiryo"/>
              <a:cs typeface="Meiryo"/>
              <a:sym typeface="Meiryo"/>
            </a:endParaRPr>
          </a:p>
          <a:p>
            <a:pPr marL="9525" marR="4344" lvl="0" algn="l" rtl="0">
              <a:spcBef>
                <a:spcPts val="85"/>
              </a:spcBef>
              <a:spcAft>
                <a:spcPts val="0"/>
              </a:spcAft>
              <a:buClr>
                <a:srgbClr val="000000"/>
              </a:buClr>
              <a:buSzPts val="2400"/>
              <a:buFont typeface="Arial"/>
              <a:buNone/>
              <a:tabLst>
                <a:tab pos="355600" algn="l"/>
              </a:tabLst>
            </a:pPr>
            <a:endParaRPr lang="en-US" sz="1800" b="1" dirty="0">
              <a:latin typeface="Meiryo"/>
              <a:ea typeface="Meiryo"/>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en-US" altLang="ja-JP" b="1" i="0" u="none" strike="noStrike" cap="none" dirty="0">
                <a:solidFill>
                  <a:srgbClr val="000000"/>
                </a:solidFill>
                <a:latin typeface="Meiryo"/>
                <a:ea typeface="Meiryo"/>
                <a:cs typeface="Meiryo"/>
                <a:sym typeface="Meiryo"/>
              </a:rPr>
              <a:t>	※</a:t>
            </a:r>
            <a:r>
              <a:rPr lang="ja-JP" altLang="en-US" b="1" i="0" u="none" strike="noStrike" cap="none" dirty="0">
                <a:solidFill>
                  <a:srgbClr val="000000"/>
                </a:solidFill>
                <a:latin typeface="Meiryo"/>
                <a:ea typeface="Meiryo"/>
                <a:cs typeface="Meiryo"/>
                <a:sym typeface="Meiryo"/>
              </a:rPr>
              <a:t>薬局でお薬を</a:t>
            </a:r>
            <a:endParaRPr lang="en-US" altLang="ja-JP" b="1" i="0" u="none" strike="noStrike" cap="none" dirty="0">
              <a:solidFill>
                <a:srgbClr val="000000"/>
              </a:solidFill>
              <a:latin typeface="Meiryo"/>
              <a:ea typeface="Meiryo"/>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en-US" altLang="ja-JP" b="1" dirty="0">
                <a:latin typeface="Meiryo"/>
                <a:ea typeface="Meiryo"/>
                <a:cs typeface="Meiryo"/>
                <a:sym typeface="Meiryo"/>
              </a:rPr>
              <a:t>	</a:t>
            </a:r>
            <a:r>
              <a:rPr lang="ja-JP" altLang="en-US" b="1" i="0" u="none" strike="noStrike" cap="none" dirty="0">
                <a:solidFill>
                  <a:srgbClr val="000000"/>
                </a:solidFill>
                <a:latin typeface="Meiryo"/>
                <a:ea typeface="Meiryo"/>
                <a:cs typeface="Meiryo"/>
                <a:sym typeface="Meiryo"/>
              </a:rPr>
              <a:t>受け取る場合、一部の</a:t>
            </a:r>
            <a:endParaRPr lang="en-US" altLang="ja-JP" b="1" i="0" u="none" strike="noStrike" cap="none" dirty="0">
              <a:solidFill>
                <a:srgbClr val="000000"/>
              </a:solidFill>
              <a:latin typeface="Meiryo"/>
              <a:ea typeface="Meiryo"/>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en-US" altLang="ja-JP" b="1" dirty="0">
                <a:latin typeface="Meiryo"/>
                <a:ea typeface="Meiryo"/>
                <a:cs typeface="Meiryo"/>
                <a:sym typeface="Meiryo"/>
              </a:rPr>
              <a:t>	</a:t>
            </a:r>
            <a:r>
              <a:rPr lang="ja-JP" altLang="en-US" b="1" i="0" u="none" strike="noStrike" cap="none" dirty="0">
                <a:solidFill>
                  <a:srgbClr val="000000"/>
                </a:solidFill>
                <a:latin typeface="Meiryo"/>
                <a:ea typeface="Meiryo"/>
                <a:cs typeface="Meiryo"/>
                <a:sym typeface="Meiryo"/>
              </a:rPr>
              <a:t>薬局には処方箋を</a:t>
            </a:r>
            <a:endParaRPr lang="en-US" altLang="ja-JP" b="1" i="0" u="none" strike="noStrike" cap="none" dirty="0">
              <a:solidFill>
                <a:srgbClr val="000000"/>
              </a:solidFill>
              <a:latin typeface="Meiryo"/>
              <a:ea typeface="Meiryo"/>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en-US" altLang="ja-JP" b="1" dirty="0">
                <a:latin typeface="Meiryo"/>
                <a:ea typeface="Meiryo"/>
                <a:cs typeface="Meiryo"/>
                <a:sym typeface="Meiryo"/>
              </a:rPr>
              <a:t>	</a:t>
            </a:r>
            <a:r>
              <a:rPr lang="ja-JP" altLang="en-US" b="1" i="0" u="none" strike="noStrike" cap="none" dirty="0">
                <a:solidFill>
                  <a:srgbClr val="000000"/>
                </a:solidFill>
                <a:latin typeface="Meiryo"/>
                <a:ea typeface="Meiryo"/>
                <a:cs typeface="Meiryo"/>
                <a:sym typeface="Meiryo"/>
              </a:rPr>
              <a:t>医療機関から</a:t>
            </a:r>
            <a:endParaRPr lang="en-US" altLang="ja-JP" b="1" i="0" u="none" strike="noStrike" cap="none" dirty="0">
              <a:solidFill>
                <a:srgbClr val="000000"/>
              </a:solidFill>
              <a:latin typeface="Meiryo"/>
              <a:ea typeface="Meiryo"/>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en-US" altLang="ja-JP" b="1" dirty="0">
                <a:latin typeface="Meiryo"/>
                <a:ea typeface="Meiryo"/>
                <a:cs typeface="Meiryo"/>
                <a:sym typeface="Meiryo"/>
              </a:rPr>
              <a:t>	</a:t>
            </a:r>
            <a:r>
              <a:rPr lang="ja-JP" altLang="en-US" b="1" i="0" u="none" strike="noStrike" cap="none" dirty="0">
                <a:solidFill>
                  <a:srgbClr val="000000"/>
                </a:solidFill>
                <a:latin typeface="Meiryo"/>
                <a:ea typeface="Meiryo"/>
                <a:cs typeface="Meiryo"/>
                <a:sym typeface="Meiryo"/>
              </a:rPr>
              <a:t>直接</a:t>
            </a:r>
            <a:r>
              <a:rPr lang="en-US" altLang="ja-JP" b="1" i="0" u="none" strike="noStrike" cap="none" dirty="0">
                <a:solidFill>
                  <a:srgbClr val="000000"/>
                </a:solidFill>
                <a:latin typeface="Meiryo"/>
                <a:ea typeface="Meiryo"/>
                <a:cs typeface="Meiryo"/>
                <a:sym typeface="Meiryo"/>
              </a:rPr>
              <a:t>FAX</a:t>
            </a:r>
            <a:r>
              <a:rPr lang="ja-JP" altLang="en-US" b="1" dirty="0">
                <a:latin typeface="Meiryo"/>
                <a:ea typeface="Meiryo"/>
                <a:cs typeface="Meiryo"/>
                <a:sym typeface="Meiryo"/>
              </a:rPr>
              <a:t>が可能です</a:t>
            </a:r>
            <a:endParaRPr sz="1800" b="1" i="0" u="none" strike="noStrike" cap="none" dirty="0">
              <a:solidFill>
                <a:srgbClr val="000000"/>
              </a:solidFill>
              <a:latin typeface="Meiryo"/>
              <a:ea typeface="Meiryo"/>
              <a:cs typeface="Meiryo"/>
              <a:sym typeface="Meiryo"/>
            </a:endParaRPr>
          </a:p>
        </p:txBody>
      </p:sp>
      <p:sp>
        <p:nvSpPr>
          <p:cNvPr id="640" name="Google Shape;640;p18"/>
          <p:cNvSpPr/>
          <p:nvPr/>
        </p:nvSpPr>
        <p:spPr>
          <a:xfrm>
            <a:off x="4796745" y="2166456"/>
            <a:ext cx="1512000" cy="320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rgbClr val="FFFFFF"/>
              </a:solidFill>
              <a:latin typeface="Calibri"/>
              <a:ea typeface="Calibri"/>
              <a:cs typeface="Calibri"/>
              <a:sym typeface="Calibri"/>
            </a:endParaRPr>
          </a:p>
        </p:txBody>
      </p:sp>
      <p:sp>
        <p:nvSpPr>
          <p:cNvPr id="644" name="Google Shape;644;p18"/>
          <p:cNvSpPr/>
          <p:nvPr/>
        </p:nvSpPr>
        <p:spPr>
          <a:xfrm>
            <a:off x="6961297" y="5041623"/>
            <a:ext cx="1512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rgbClr val="FFFFFF"/>
              </a:solidFill>
              <a:latin typeface="Calibri"/>
              <a:ea typeface="Calibri"/>
              <a:cs typeface="Calibri"/>
              <a:sym typeface="Calibri"/>
            </a:endParaRPr>
          </a:p>
        </p:txBody>
      </p:sp>
      <p:sp>
        <p:nvSpPr>
          <p:cNvPr id="648" name="Google Shape;648;p18"/>
          <p:cNvSpPr/>
          <p:nvPr/>
        </p:nvSpPr>
        <p:spPr>
          <a:xfrm>
            <a:off x="2627641" y="2636715"/>
            <a:ext cx="1548000" cy="79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rgbClr val="FFFFFF"/>
              </a:solidFill>
              <a:latin typeface="Calibri"/>
              <a:ea typeface="Calibri"/>
              <a:cs typeface="Calibri"/>
              <a:sym typeface="Calibri"/>
            </a:endParaRPr>
          </a:p>
        </p:txBody>
      </p:sp>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31"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3</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お薬の受け取り方法の選択</a:t>
            </a:r>
            <a:endParaRPr kumimoji="0" lang="ja-JP" altLang="en-US" sz="3200" b="0" kern="0" dirty="0"/>
          </a:p>
        </p:txBody>
      </p:sp>
      <p:grpSp>
        <p:nvGrpSpPr>
          <p:cNvPr id="32" name="図形グループ 31"/>
          <p:cNvGrpSpPr>
            <a:grpSpLocks noChangeAspect="1"/>
          </p:cNvGrpSpPr>
          <p:nvPr/>
        </p:nvGrpSpPr>
        <p:grpSpPr>
          <a:xfrm>
            <a:off x="4310195" y="3304349"/>
            <a:ext cx="360000" cy="270000"/>
            <a:chOff x="3355262" y="5469690"/>
            <a:chExt cx="720000" cy="540000"/>
          </a:xfrm>
        </p:grpSpPr>
        <p:cxnSp>
          <p:nvCxnSpPr>
            <p:cNvPr id="33" name="カギ線コネクタ 3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5" name="図形グループ 34"/>
          <p:cNvGrpSpPr>
            <a:grpSpLocks noChangeAspect="1"/>
          </p:cNvGrpSpPr>
          <p:nvPr/>
        </p:nvGrpSpPr>
        <p:grpSpPr>
          <a:xfrm>
            <a:off x="6476038" y="3304349"/>
            <a:ext cx="360000" cy="270000"/>
            <a:chOff x="3355262" y="5469690"/>
            <a:chExt cx="720000" cy="540000"/>
          </a:xfrm>
        </p:grpSpPr>
        <p:cxnSp>
          <p:nvCxnSpPr>
            <p:cNvPr id="36" name="カギ線コネクタ 35"/>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8" name="図形グループ 37"/>
          <p:cNvGrpSpPr/>
          <p:nvPr/>
        </p:nvGrpSpPr>
        <p:grpSpPr>
          <a:xfrm>
            <a:off x="6817380" y="4892508"/>
            <a:ext cx="296586" cy="293005"/>
            <a:chOff x="4232441" y="3995693"/>
            <a:chExt cx="296586" cy="293005"/>
          </a:xfrm>
        </p:grpSpPr>
        <p:sp>
          <p:nvSpPr>
            <p:cNvPr id="39" name="円/楕円 3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図形グループ 40"/>
          <p:cNvGrpSpPr/>
          <p:nvPr/>
        </p:nvGrpSpPr>
        <p:grpSpPr>
          <a:xfrm>
            <a:off x="4654467" y="2017425"/>
            <a:ext cx="296586" cy="293005"/>
            <a:chOff x="3546641" y="3995693"/>
            <a:chExt cx="296586" cy="293005"/>
          </a:xfrm>
        </p:grpSpPr>
        <p:sp>
          <p:nvSpPr>
            <p:cNvPr id="42" name="円/楕円 4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43"/>
          <p:cNvGrpSpPr/>
          <p:nvPr/>
        </p:nvGrpSpPr>
        <p:grpSpPr>
          <a:xfrm>
            <a:off x="2484176" y="2483418"/>
            <a:ext cx="296587" cy="293005"/>
            <a:chOff x="2897417" y="3995693"/>
            <a:chExt cx="296587" cy="293005"/>
          </a:xfrm>
        </p:grpSpPr>
        <p:sp>
          <p:nvSpPr>
            <p:cNvPr id="45" name="円/楕円 4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テキスト ボックス 4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665"/>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EF34F2E4-2FF4-4A72-9F19-DFC71DF61D1A}"/>
              </a:ext>
            </a:extLst>
          </p:cNvPr>
          <p:cNvGraphicFramePr>
            <a:graphicFrameLocks noChangeAspect="1"/>
          </p:cNvGraphicFramePr>
          <p:nvPr>
            <p:custDataLst>
              <p:tags r:id="rId2"/>
            </p:custDataLst>
            <p:extLst>
              <p:ext uri="{D42A27DB-BD31-4B8C-83A1-F6EECF244321}">
                <p14:modId xmlns:p14="http://schemas.microsoft.com/office/powerpoint/2010/main" val="3541857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01"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66" name="Google Shape;666;p19" descr="「申込を完了しました」と表示され、申込内容が表示されている画像"/>
          <p:cNvPicPr preferRelativeResize="0">
            <a:picLocks noChangeAspect="1"/>
          </p:cNvPicPr>
          <p:nvPr/>
        </p:nvPicPr>
        <p:blipFill>
          <a:blip r:embed="rId7">
            <a:alphaModFix/>
          </a:blip>
          <a:stretch>
            <a:fillRect/>
          </a:stretch>
        </p:blipFill>
        <p:spPr>
          <a:xfrm>
            <a:off x="6199843" y="1994678"/>
            <a:ext cx="1900104" cy="4140000"/>
          </a:xfrm>
          <a:prstGeom prst="rect">
            <a:avLst/>
          </a:prstGeom>
          <a:noFill/>
          <a:ln w="9525" cap="flat" cmpd="sng">
            <a:solidFill>
              <a:schemeClr val="tx1">
                <a:lumMod val="50000"/>
                <a:lumOff val="50000"/>
              </a:schemeClr>
            </a:solidFill>
            <a:prstDash val="solid"/>
            <a:miter lim="800000"/>
            <a:headEnd type="none" w="sm" len="sm"/>
            <a:tailEnd type="none" w="sm" len="sm"/>
          </a:ln>
        </p:spPr>
      </p:pic>
      <p:pic>
        <p:nvPicPr>
          <p:cNvPr id="667" name="Google Shape;667;p19" descr="予約内容画面を確認し「この内容で申し込む」をタップしている画像"/>
          <p:cNvPicPr preferRelativeResize="0">
            <a:picLocks noChangeAspect="1"/>
          </p:cNvPicPr>
          <p:nvPr/>
        </p:nvPicPr>
        <p:blipFill>
          <a:blip r:embed="rId8">
            <a:alphaModFix/>
          </a:blip>
          <a:stretch>
            <a:fillRect/>
          </a:stretch>
        </p:blipFill>
        <p:spPr>
          <a:xfrm>
            <a:off x="2952922" y="1994678"/>
            <a:ext cx="1811501" cy="4140000"/>
          </a:xfrm>
          <a:prstGeom prst="rect">
            <a:avLst/>
          </a:prstGeom>
          <a:noFill/>
          <a:ln w="9525" cap="flat" cmpd="sng">
            <a:solidFill>
              <a:schemeClr val="tx1">
                <a:lumMod val="50000"/>
                <a:lumOff val="50000"/>
              </a:schemeClr>
            </a:solidFill>
            <a:prstDash val="solid"/>
            <a:miter lim="800000"/>
            <a:headEnd type="none" w="sm" len="sm"/>
            <a:tailEnd type="none" w="sm" len="sm"/>
          </a:ln>
        </p:spPr>
      </p:pic>
      <p:sp>
        <p:nvSpPr>
          <p:cNvPr id="669" name="Google Shape;669;p19"/>
          <p:cNvSpPr txBox="1"/>
          <p:nvPr/>
        </p:nvSpPr>
        <p:spPr>
          <a:xfrm>
            <a:off x="2935032" y="1619979"/>
            <a:ext cx="1945888" cy="2264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Meiryo"/>
                <a:ea typeface="Meiryo"/>
                <a:cs typeface="Meiryo"/>
                <a:sym typeface="Meiryo"/>
              </a:rPr>
              <a:t>予約を確定する</a:t>
            </a:r>
            <a:endParaRPr sz="1400" b="1" i="0" u="none" strike="noStrike" cap="none">
              <a:solidFill>
                <a:srgbClr val="009650"/>
              </a:solidFill>
              <a:latin typeface="Meiryo"/>
              <a:ea typeface="Meiryo"/>
              <a:cs typeface="Meiryo"/>
              <a:sym typeface="Meiryo"/>
            </a:endParaRPr>
          </a:p>
        </p:txBody>
      </p:sp>
      <p:sp>
        <p:nvSpPr>
          <p:cNvPr id="670" name="Google Shape;670;p19"/>
          <p:cNvSpPr txBox="1"/>
          <p:nvPr/>
        </p:nvSpPr>
        <p:spPr>
          <a:xfrm>
            <a:off x="315324" y="1896533"/>
            <a:ext cx="2374800" cy="1027830"/>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None/>
              <a:tabLst>
                <a:tab pos="355600" algn="l"/>
              </a:tabLst>
            </a:pPr>
            <a:r>
              <a:rPr lang="ja-JP" sz="2400" b="1" i="0" u="none" strike="noStrike" cap="none" dirty="0">
                <a:solidFill>
                  <a:srgbClr val="009650"/>
                </a:solidFill>
                <a:latin typeface="Meiryo"/>
                <a:ea typeface="Meiryo"/>
                <a:cs typeface="Meiryo"/>
                <a:sym typeface="Meiryo"/>
              </a:rPr>
              <a:t>❶</a:t>
            </a:r>
            <a:r>
              <a:rPr lang="en-US" altLang="ja-JP" sz="2400" b="1" i="0" u="none" strike="noStrike" cap="none" dirty="0">
                <a:solidFill>
                  <a:srgbClr val="009650"/>
                </a:solidFill>
                <a:latin typeface="Meiryo"/>
                <a:ea typeface="Meiryo"/>
                <a:cs typeface="Meiryo"/>
                <a:sym typeface="Meiryo"/>
              </a:rPr>
              <a:t>	</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この内容で</a:t>
            </a:r>
            <a:endParaRPr lang="en-US" altLang="ja-JP" sz="1800" b="1" dirty="0">
              <a:solidFill>
                <a:schemeClr val="dk1"/>
              </a:solidFill>
              <a:latin typeface="Meiryo"/>
              <a:ea typeface="Meiryo"/>
              <a:cs typeface="Meiryo"/>
              <a:sym typeface="Meiryo"/>
            </a:endParaRPr>
          </a:p>
          <a:p>
            <a:pPr marL="9525" marR="4344" lvl="0" algn="l" rtl="0">
              <a:spcBef>
                <a:spcPts val="0"/>
              </a:spcBef>
              <a:spcAft>
                <a:spcPts val="0"/>
              </a:spcAft>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申し込む</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タップ</a:t>
            </a:r>
            <a:endParaRPr sz="1800" b="1" i="0" u="none" strike="noStrike" cap="none" dirty="0">
              <a:solidFill>
                <a:schemeClr val="dk1"/>
              </a:solidFill>
              <a:latin typeface="Meiryo"/>
              <a:ea typeface="Meiryo"/>
              <a:cs typeface="Meiryo"/>
              <a:sym typeface="Meiryo"/>
            </a:endParaRPr>
          </a:p>
          <a:p>
            <a:pPr marL="9525" marR="4343" lvl="0" algn="l" rtl="0">
              <a:spcBef>
                <a:spcPts val="0"/>
              </a:spcBef>
              <a:spcAft>
                <a:spcPts val="0"/>
              </a:spcAft>
              <a:buNone/>
              <a:tabLst>
                <a:tab pos="355600"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申込内容を確認</a:t>
            </a:r>
            <a:endParaRPr sz="1800" b="1" i="0" u="none" strike="noStrike" cap="none" dirty="0">
              <a:solidFill>
                <a:schemeClr val="dk1"/>
              </a:solidFill>
              <a:latin typeface="Meiryo"/>
              <a:ea typeface="Meiryo"/>
              <a:cs typeface="Meiryo"/>
              <a:sym typeface="Meiryo"/>
            </a:endParaRPr>
          </a:p>
        </p:txBody>
      </p:sp>
      <p:sp>
        <p:nvSpPr>
          <p:cNvPr id="671" name="Google Shape;671;p19"/>
          <p:cNvSpPr/>
          <p:nvPr/>
        </p:nvSpPr>
        <p:spPr>
          <a:xfrm>
            <a:off x="6258869" y="3418271"/>
            <a:ext cx="1764000" cy="133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675" name="Google Shape;675;p19"/>
          <p:cNvSpPr/>
          <p:nvPr/>
        </p:nvSpPr>
        <p:spPr>
          <a:xfrm>
            <a:off x="2979298" y="5711608"/>
            <a:ext cx="1728000" cy="36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2"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4</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診察の申込み</a:t>
            </a:r>
            <a:endParaRPr kumimoji="0" lang="ja-JP" altLang="en-US" sz="3200" b="0" kern="0" dirty="0"/>
          </a:p>
        </p:txBody>
      </p:sp>
      <p:grpSp>
        <p:nvGrpSpPr>
          <p:cNvPr id="23" name="図形グループ 22"/>
          <p:cNvGrpSpPr>
            <a:grpSpLocks noChangeAspect="1"/>
          </p:cNvGrpSpPr>
          <p:nvPr/>
        </p:nvGrpSpPr>
        <p:grpSpPr>
          <a:xfrm>
            <a:off x="5196435" y="3167090"/>
            <a:ext cx="720000" cy="540000"/>
            <a:chOff x="3355262" y="5469690"/>
            <a:chExt cx="720000" cy="540000"/>
          </a:xfrm>
        </p:grpSpPr>
        <p:cxnSp>
          <p:nvCxnSpPr>
            <p:cNvPr id="24" name="カギ線コネクタ 23"/>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26" name="図形グループ 25"/>
          <p:cNvGrpSpPr/>
          <p:nvPr/>
        </p:nvGrpSpPr>
        <p:grpSpPr>
          <a:xfrm>
            <a:off x="6113998" y="3265933"/>
            <a:ext cx="296586" cy="293005"/>
            <a:chOff x="3546641" y="3995693"/>
            <a:chExt cx="296586" cy="293005"/>
          </a:xfrm>
        </p:grpSpPr>
        <p:sp>
          <p:nvSpPr>
            <p:cNvPr id="27" name="円/楕円 2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フリーフォーム 2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9" name="図形グループ 28"/>
          <p:cNvGrpSpPr/>
          <p:nvPr/>
        </p:nvGrpSpPr>
        <p:grpSpPr>
          <a:xfrm>
            <a:off x="2835873" y="5569518"/>
            <a:ext cx="296587" cy="293005"/>
            <a:chOff x="2897417" y="3995693"/>
            <a:chExt cx="296587" cy="293005"/>
          </a:xfrm>
        </p:grpSpPr>
        <p:sp>
          <p:nvSpPr>
            <p:cNvPr id="30" name="円/楕円 2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テキスト ボックス 3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688"/>
        <p:cNvGrpSpPr/>
        <p:nvPr/>
      </p:nvGrpSpPr>
      <p:grpSpPr>
        <a:xfrm>
          <a:off x="0" y="0"/>
          <a:ext cx="0" cy="0"/>
          <a:chOff x="0" y="0"/>
          <a:chExt cx="0" cy="0"/>
        </a:xfrm>
      </p:grpSpPr>
      <p:sp>
        <p:nvSpPr>
          <p:cNvPr id="5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58"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5</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アプリ通知</a:t>
            </a:r>
            <a:r>
              <a:rPr lang="en-US" altLang="ja-JP" sz="3200" dirty="0">
                <a:latin typeface="Meiryo"/>
                <a:ea typeface="Meiryo"/>
                <a:cs typeface="Meiryo"/>
                <a:sym typeface="Meiryo"/>
              </a:rPr>
              <a:t>ON</a:t>
            </a:r>
            <a:r>
              <a:rPr lang="ja-JP" altLang="ja-JP" sz="3200" dirty="0">
                <a:latin typeface="Meiryo"/>
                <a:ea typeface="Meiryo"/>
                <a:cs typeface="Meiryo"/>
                <a:sym typeface="Meiryo"/>
              </a:rPr>
              <a:t>の設</a:t>
            </a:r>
            <a:r>
              <a:rPr lang="ja-JP" altLang="ja-JP" sz="3200" spc="-1250" dirty="0">
                <a:latin typeface="Meiryo"/>
                <a:ea typeface="Meiryo"/>
                <a:cs typeface="Meiryo"/>
                <a:sym typeface="Meiryo"/>
              </a:rPr>
              <a:t>定</a:t>
            </a:r>
            <a:r>
              <a:rPr lang="ja-JP" altLang="en-US" sz="3200" b="0" dirty="0">
                <a:sym typeface="Meiryo"/>
              </a:rPr>
              <a:t>［</a:t>
            </a:r>
            <a:r>
              <a:rPr lang="en-US" altLang="ja-JP" sz="3200" dirty="0">
                <a:latin typeface="Meiryo"/>
                <a:ea typeface="Meiryo"/>
                <a:cs typeface="Meiryo"/>
                <a:sym typeface="Meiryo"/>
              </a:rPr>
              <a:t>1</a:t>
            </a:r>
            <a:r>
              <a:rPr lang="ja-JP" altLang="en-US" sz="3200" b="0" dirty="0">
                <a:sym typeface="Meiryo"/>
              </a:rPr>
              <a:t>］</a:t>
            </a:r>
            <a:endParaRPr kumimoji="0" lang="ja-JP" altLang="en-US" sz="3200" b="0" kern="0" dirty="0"/>
          </a:p>
        </p:txBody>
      </p:sp>
      <p:sp>
        <p:nvSpPr>
          <p:cNvPr id="57" name="Google Shape;1332;p27"/>
          <p:cNvSpPr txBox="1"/>
          <p:nvPr/>
        </p:nvSpPr>
        <p:spPr>
          <a:xfrm>
            <a:off x="617077" y="1417320"/>
            <a:ext cx="7438787" cy="287965"/>
          </a:xfrm>
          <a:prstGeom prst="rect">
            <a:avLst/>
          </a:prstGeom>
          <a:noFill/>
          <a:ln>
            <a:noFill/>
          </a:ln>
        </p:spPr>
        <p:txBody>
          <a:bodyPr spcFirstLastPara="1" wrap="square" lIns="0" tIns="10850" rIns="0" bIns="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ja-JP" sz="1800" b="1" i="0" u="none" strike="noStrike" cap="none">
                <a:solidFill>
                  <a:srgbClr val="009650"/>
                </a:solidFill>
                <a:latin typeface="Meiryo"/>
                <a:ea typeface="Meiryo"/>
                <a:cs typeface="Meiryo"/>
                <a:sym typeface="Meiryo"/>
              </a:rPr>
              <a:t>Androidの場合</a:t>
            </a:r>
            <a:endParaRPr sz="1400" b="0" i="0" u="none" strike="noStrike" cap="none">
              <a:solidFill>
                <a:srgbClr val="00B0F0"/>
              </a:solidFill>
              <a:latin typeface="Calibri"/>
              <a:ea typeface="Calibri"/>
              <a:cs typeface="Calibri"/>
              <a:sym typeface="Calibri"/>
            </a:endParaRPr>
          </a:p>
        </p:txBody>
      </p:sp>
      <p:sp>
        <p:nvSpPr>
          <p:cNvPr id="59" name="Google Shape;1334;p27"/>
          <p:cNvSpPr txBox="1"/>
          <p:nvPr/>
        </p:nvSpPr>
        <p:spPr>
          <a:xfrm>
            <a:off x="601837" y="5944689"/>
            <a:ext cx="7200000" cy="226400"/>
          </a:xfrm>
          <a:prstGeom prst="rect">
            <a:avLst/>
          </a:prstGeom>
          <a:noFill/>
          <a:ln>
            <a:noFill/>
          </a:ln>
        </p:spPr>
        <p:txBody>
          <a:bodyPr spcFirstLastPara="1" wrap="square" lIns="0" tIns="1085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Meiryo"/>
                <a:ea typeface="Meiryo"/>
                <a:cs typeface="Meiryo"/>
                <a:sym typeface="Meiryo"/>
              </a:rPr>
              <a:t>医療機関から通知の来る前にアプリのPush通知機能をオンにしておきましょう。</a:t>
            </a:r>
            <a:endParaRPr sz="1400" b="0" i="0" u="none" strike="noStrike" cap="none">
              <a:solidFill>
                <a:srgbClr val="000000"/>
              </a:solidFill>
              <a:latin typeface="Arial"/>
              <a:ea typeface="Arial"/>
              <a:cs typeface="Arial"/>
              <a:sym typeface="Arial"/>
            </a:endParaRPr>
          </a:p>
        </p:txBody>
      </p:sp>
      <p:sp>
        <p:nvSpPr>
          <p:cNvPr id="60" name="Google Shape;1336;p27" descr="スマートフォンのホーム画面の「設定」をタップしている画像"/>
          <p:cNvSpPr>
            <a:spLocks noChangeAspect="1"/>
          </p:cNvSpPr>
          <p:nvPr/>
        </p:nvSpPr>
        <p:spPr>
          <a:xfrm>
            <a:off x="609597" y="2789768"/>
            <a:ext cx="1132265" cy="2160000"/>
          </a:xfrm>
          <a:prstGeom prst="rect">
            <a:avLst/>
          </a:prstGeom>
          <a:blipFill rotWithShape="1">
            <a:blip r:embed="rId3">
              <a:alphaModFix/>
            </a:blip>
            <a:stretch>
              <a:fillRect/>
            </a:stretch>
          </a:blipFill>
          <a:ln w="9525" cap="flat" cmpd="sng">
            <a:no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73" name="Google Shape;1381;p27"/>
          <p:cNvSpPr/>
          <p:nvPr/>
        </p:nvSpPr>
        <p:spPr>
          <a:xfrm>
            <a:off x="1402698" y="3883970"/>
            <a:ext cx="360000" cy="360000"/>
          </a:xfrm>
          <a:prstGeom prst="rect">
            <a:avLst/>
          </a:prstGeom>
          <a:noFill/>
          <a:ln w="28575" cap="flat" cmpd="sng">
            <a:solidFill>
              <a:srgbClr val="FF0000"/>
            </a:solidFill>
            <a:prstDash val="solid"/>
            <a:miter lim="800000"/>
            <a:headEnd type="none" w="sm" len="sm"/>
            <a:tailEnd type="none" w="sm" len="sm"/>
          </a:ln>
          <a:effectLst>
            <a:glow rad="63500">
              <a:schemeClr val="bg1"/>
            </a:glo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74" name="Google Shape;1393;p28"/>
          <p:cNvSpPr txBox="1"/>
          <p:nvPr/>
        </p:nvSpPr>
        <p:spPr>
          <a:xfrm>
            <a:off x="583302" y="1719616"/>
            <a:ext cx="2160000" cy="738664"/>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❶</a:t>
            </a:r>
            <a:r>
              <a:rPr lang="en-US" altLang="ja-JP" sz="1800" b="1" i="0" u="none" strike="noStrike" cap="none" dirty="0">
                <a:solidFill>
                  <a:schemeClr val="dk1"/>
                </a:solidFill>
                <a:latin typeface="Meiryo"/>
                <a:ea typeface="Meiryo"/>
                <a:cs typeface="Meiryo"/>
                <a:sym typeface="Meiryo"/>
              </a:rPr>
              <a:t>	</a:t>
            </a:r>
          </a:p>
          <a:p>
            <a:pPr marL="12700" marR="0" lvl="0" algn="l" rtl="0">
              <a:lnSpc>
                <a:spcPct val="80000"/>
              </a:lnSpc>
              <a:spcBef>
                <a:spcPts val="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altLang="en-US" sz="1800" b="1" dirty="0">
                <a:solidFill>
                  <a:schemeClr val="dk1"/>
                </a:solidFill>
                <a:latin typeface="Meiryo"/>
                <a:ea typeface="Meiryo"/>
                <a:cs typeface="Meiryo"/>
                <a:sym typeface="Meiryo"/>
              </a:rPr>
              <a:t>設定</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a:t>
            </a:r>
            <a:endParaRPr lang="en-US" altLang="ja-JP" sz="1800" b="1" i="0" u="none" strike="noStrike" cap="none" dirty="0">
              <a:solidFill>
                <a:schemeClr val="dk1"/>
              </a:solidFill>
              <a:latin typeface="Meiryo"/>
              <a:ea typeface="Meiryo"/>
              <a:cs typeface="Meiryo"/>
              <a:sym typeface="Meiryo"/>
            </a:endParaRPr>
          </a:p>
          <a:p>
            <a:pPr marL="12700" marR="0" lvl="0" algn="l" rtl="0">
              <a:lnSpc>
                <a:spcPct val="80000"/>
              </a:lnSpc>
              <a:spcBef>
                <a:spcPts val="0"/>
              </a:spcBef>
              <a:spcAft>
                <a:spcPts val="0"/>
              </a:spcAft>
              <a:buClr>
                <a:srgbClr val="000000"/>
              </a:buClr>
              <a:buSzPts val="2400"/>
              <a:buFont typeface="Arial"/>
              <a:buNone/>
              <a:tabLst>
                <a:tab pos="355600" algn="l"/>
              </a:tabLst>
            </a:pPr>
            <a:r>
              <a:rPr lang="ja-JP" sz="1800" b="1" i="0" u="none" strike="noStrike" cap="none" dirty="0">
                <a:solidFill>
                  <a:schemeClr val="dk1"/>
                </a:solidFill>
                <a:latin typeface="Meiryo"/>
                <a:ea typeface="Meiryo"/>
                <a:cs typeface="Meiryo"/>
                <a:sym typeface="Meiryo"/>
              </a:rPr>
              <a:t>タップ</a:t>
            </a:r>
            <a:endParaRPr sz="1800" b="1" i="0" u="none" strike="noStrike" cap="none" dirty="0">
              <a:solidFill>
                <a:schemeClr val="dk1"/>
              </a:solidFill>
              <a:latin typeface="Meiryo"/>
              <a:ea typeface="Meiryo"/>
              <a:cs typeface="Meiryo"/>
              <a:sym typeface="Meiryo"/>
            </a:endParaRPr>
          </a:p>
        </p:txBody>
      </p:sp>
      <p:sp>
        <p:nvSpPr>
          <p:cNvPr id="75" name="Google Shape;1393;p28"/>
          <p:cNvSpPr txBox="1"/>
          <p:nvPr/>
        </p:nvSpPr>
        <p:spPr>
          <a:xfrm>
            <a:off x="2200429" y="1719616"/>
            <a:ext cx="2160000" cy="777136"/>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p>
          <a:p>
            <a:pPr marL="12700" marR="0" lvl="0" algn="l" rtl="0">
              <a:lnSpc>
                <a:spcPct val="80000"/>
              </a:lnSpc>
              <a:spcBef>
                <a:spcPts val="1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altLang="en-US" sz="1800" b="1" i="0" u="none" strike="noStrike" cap="none" dirty="0">
                <a:solidFill>
                  <a:schemeClr val="dk1"/>
                </a:solidFill>
                <a:latin typeface="Meiryo"/>
                <a:ea typeface="Meiryo"/>
                <a:cs typeface="Meiryo"/>
                <a:sym typeface="Meiryo"/>
              </a:rPr>
              <a:t>アプリ</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a:t>
            </a:r>
            <a:endParaRPr lang="en-US" altLang="ja-JP" sz="1800" b="1" i="0" u="none" strike="noStrike" cap="none" dirty="0">
              <a:solidFill>
                <a:schemeClr val="dk1"/>
              </a:solidFill>
              <a:latin typeface="Meiryo"/>
              <a:ea typeface="Meiryo"/>
              <a:cs typeface="Meiryo"/>
              <a:sym typeface="Meiryo"/>
            </a:endParaRPr>
          </a:p>
          <a:p>
            <a:pPr marL="12700" marR="0" lvl="0" algn="l" rtl="0">
              <a:lnSpc>
                <a:spcPct val="80000"/>
              </a:lnSpc>
              <a:spcBef>
                <a:spcPts val="100"/>
              </a:spcBef>
              <a:spcAft>
                <a:spcPts val="0"/>
              </a:spcAft>
              <a:buClr>
                <a:srgbClr val="000000"/>
              </a:buClr>
              <a:buSzPts val="2400"/>
              <a:buFont typeface="Arial"/>
              <a:buNone/>
              <a:tabLst>
                <a:tab pos="355600" algn="l"/>
              </a:tabLst>
            </a:pPr>
            <a:r>
              <a:rPr lang="ja-JP" sz="1800" b="1" i="0" u="none" strike="noStrike" cap="none" dirty="0">
                <a:solidFill>
                  <a:schemeClr val="dk1"/>
                </a:solidFill>
                <a:latin typeface="Meiryo"/>
                <a:ea typeface="Meiryo"/>
                <a:cs typeface="Meiryo"/>
                <a:sym typeface="Meiryo"/>
              </a:rPr>
              <a:t>タップ</a:t>
            </a:r>
            <a:endParaRPr sz="1400" b="0" i="0" u="none" strike="noStrike" cap="none" dirty="0">
              <a:solidFill>
                <a:srgbClr val="000000"/>
              </a:solidFill>
              <a:latin typeface="Arial"/>
              <a:ea typeface="Arial"/>
              <a:cs typeface="Arial"/>
              <a:sym typeface="Arial"/>
            </a:endParaRPr>
          </a:p>
        </p:txBody>
      </p:sp>
      <p:sp>
        <p:nvSpPr>
          <p:cNvPr id="76" name="Google Shape;1393;p28"/>
          <p:cNvSpPr txBox="1"/>
          <p:nvPr/>
        </p:nvSpPr>
        <p:spPr>
          <a:xfrm>
            <a:off x="3817784" y="1719616"/>
            <a:ext cx="2160000" cy="777136"/>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❸</a:t>
            </a:r>
            <a:r>
              <a:rPr lang="en-US" altLang="ja-JP" sz="2400" b="1" i="0" u="none" strike="noStrike" cap="none" dirty="0">
                <a:solidFill>
                  <a:srgbClr val="009650"/>
                </a:solidFill>
                <a:latin typeface="Meiryo"/>
                <a:ea typeface="Meiryo"/>
                <a:cs typeface="Meiryo"/>
                <a:sym typeface="Meiryo"/>
              </a:rPr>
              <a:t>	</a:t>
            </a:r>
          </a:p>
          <a:p>
            <a:pPr marL="12700" marR="0" lvl="0" algn="l" rtl="0">
              <a:lnSpc>
                <a:spcPct val="80000"/>
              </a:lnSpc>
              <a:spcBef>
                <a:spcPts val="1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クロン</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a:t>
            </a:r>
            <a:endParaRPr lang="en-US" altLang="ja-JP" sz="1800" b="1" i="0" u="none" strike="noStrike" cap="none" dirty="0">
              <a:solidFill>
                <a:schemeClr val="dk1"/>
              </a:solidFill>
              <a:latin typeface="Meiryo"/>
              <a:ea typeface="Meiryo"/>
              <a:cs typeface="Meiryo"/>
              <a:sym typeface="Meiryo"/>
            </a:endParaRPr>
          </a:p>
          <a:p>
            <a:pPr marL="12700" marR="0" lvl="0" algn="l" rtl="0">
              <a:lnSpc>
                <a:spcPct val="80000"/>
              </a:lnSpc>
              <a:spcBef>
                <a:spcPts val="100"/>
              </a:spcBef>
              <a:spcAft>
                <a:spcPts val="0"/>
              </a:spcAft>
              <a:buClr>
                <a:srgbClr val="000000"/>
              </a:buClr>
              <a:buSzPts val="2400"/>
              <a:buFont typeface="Arial"/>
              <a:buNone/>
              <a:tabLst>
                <a:tab pos="355600" algn="l"/>
              </a:tabLst>
            </a:pPr>
            <a:r>
              <a:rPr lang="ja-JP" sz="1800" b="1" i="0" u="none" strike="noStrike" cap="none" dirty="0">
                <a:solidFill>
                  <a:schemeClr val="dk1"/>
                </a:solidFill>
                <a:latin typeface="Meiryo"/>
                <a:ea typeface="Meiryo"/>
                <a:cs typeface="Meiryo"/>
                <a:sym typeface="Meiryo"/>
              </a:rPr>
              <a:t>タップ</a:t>
            </a:r>
            <a:endParaRPr sz="1400" b="0" i="0" u="none" strike="noStrike" cap="none" dirty="0">
              <a:solidFill>
                <a:srgbClr val="000000"/>
              </a:solidFill>
              <a:latin typeface="Arial"/>
              <a:ea typeface="Arial"/>
              <a:cs typeface="Arial"/>
              <a:sym typeface="Arial"/>
            </a:endParaRPr>
          </a:p>
        </p:txBody>
      </p:sp>
      <p:sp>
        <p:nvSpPr>
          <p:cNvPr id="77" name="Google Shape;1393;p28"/>
          <p:cNvSpPr txBox="1"/>
          <p:nvPr/>
        </p:nvSpPr>
        <p:spPr>
          <a:xfrm>
            <a:off x="5434922" y="1719616"/>
            <a:ext cx="2160000" cy="777136"/>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altLang="en-US" sz="2400" b="1" i="0" u="none" strike="noStrike" cap="none" dirty="0">
                <a:solidFill>
                  <a:srgbClr val="009650"/>
                </a:solidFill>
                <a:latin typeface="Meiryo"/>
                <a:ea typeface="Meiryo"/>
                <a:cs typeface="Meiryo"/>
                <a:sym typeface="Meiryo"/>
              </a:rPr>
              <a:t>❹</a:t>
            </a:r>
            <a:r>
              <a:rPr lang="en-US" altLang="ja-JP" sz="2400" b="1" i="0" u="none" strike="noStrike" cap="none" dirty="0">
                <a:solidFill>
                  <a:srgbClr val="009650"/>
                </a:solidFill>
                <a:latin typeface="Meiryo"/>
                <a:ea typeface="Meiryo"/>
                <a:cs typeface="Meiryo"/>
                <a:sym typeface="Meiryo"/>
              </a:rPr>
              <a:t>	</a:t>
            </a:r>
          </a:p>
          <a:p>
            <a:pPr marL="12700" marR="0" lvl="0" algn="l" rtl="0">
              <a:lnSpc>
                <a:spcPct val="80000"/>
              </a:lnSpc>
              <a:spcBef>
                <a:spcPts val="1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altLang="en-US" sz="1800" b="1" i="0" u="none" strike="noStrike" cap="none" dirty="0">
                <a:solidFill>
                  <a:schemeClr val="dk1"/>
                </a:solidFill>
                <a:latin typeface="Meiryo"/>
                <a:ea typeface="Meiryo"/>
                <a:cs typeface="Meiryo"/>
                <a:sym typeface="Meiryo"/>
              </a:rPr>
              <a:t>通知</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a:t>
            </a:r>
            <a:endParaRPr lang="en-US" altLang="ja-JP" sz="1800" b="1" i="0" u="none" strike="noStrike" cap="none" dirty="0">
              <a:solidFill>
                <a:schemeClr val="dk1"/>
              </a:solidFill>
              <a:latin typeface="Meiryo"/>
              <a:ea typeface="Meiryo"/>
              <a:cs typeface="Meiryo"/>
              <a:sym typeface="Meiryo"/>
            </a:endParaRPr>
          </a:p>
          <a:p>
            <a:pPr marL="12700" marR="0" lvl="0" algn="l" rtl="0">
              <a:lnSpc>
                <a:spcPct val="80000"/>
              </a:lnSpc>
              <a:spcBef>
                <a:spcPts val="100"/>
              </a:spcBef>
              <a:spcAft>
                <a:spcPts val="0"/>
              </a:spcAft>
              <a:buClr>
                <a:srgbClr val="000000"/>
              </a:buClr>
              <a:buSzPts val="2400"/>
              <a:buFont typeface="Arial"/>
              <a:buNone/>
              <a:tabLst>
                <a:tab pos="355600" algn="l"/>
              </a:tabLst>
            </a:pPr>
            <a:r>
              <a:rPr lang="ja-JP" sz="1800" b="1" i="0" u="none" strike="noStrike" cap="none" dirty="0">
                <a:solidFill>
                  <a:schemeClr val="dk1"/>
                </a:solidFill>
                <a:latin typeface="Meiryo"/>
                <a:ea typeface="Meiryo"/>
                <a:cs typeface="Meiryo"/>
                <a:sym typeface="Meiryo"/>
              </a:rPr>
              <a:t>タップ</a:t>
            </a:r>
            <a:endParaRPr sz="1400" b="0" i="0" u="none" strike="noStrike" cap="none" dirty="0">
              <a:solidFill>
                <a:srgbClr val="000000"/>
              </a:solidFill>
              <a:latin typeface="Arial"/>
              <a:ea typeface="Arial"/>
              <a:cs typeface="Arial"/>
              <a:sym typeface="Arial"/>
            </a:endParaRPr>
          </a:p>
        </p:txBody>
      </p:sp>
      <p:sp>
        <p:nvSpPr>
          <p:cNvPr id="78" name="Google Shape;1393;p28"/>
          <p:cNvSpPr txBox="1"/>
          <p:nvPr/>
        </p:nvSpPr>
        <p:spPr>
          <a:xfrm>
            <a:off x="7060525" y="1719616"/>
            <a:ext cx="2160000" cy="777136"/>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altLang="en-US" sz="2400" b="1" i="0" u="none" strike="noStrike" cap="none" dirty="0">
                <a:solidFill>
                  <a:srgbClr val="009650"/>
                </a:solidFill>
                <a:latin typeface="Meiryo"/>
                <a:ea typeface="Meiryo"/>
                <a:cs typeface="Meiryo"/>
                <a:sym typeface="Meiryo"/>
              </a:rPr>
              <a:t>❺</a:t>
            </a:r>
            <a:r>
              <a:rPr lang="en-US" altLang="ja-JP" sz="2400" b="1" i="0" u="none" strike="noStrike" cap="none" dirty="0">
                <a:solidFill>
                  <a:srgbClr val="009650"/>
                </a:solidFill>
                <a:latin typeface="Meiryo"/>
                <a:ea typeface="Meiryo"/>
                <a:cs typeface="Meiryo"/>
                <a:sym typeface="Meiryo"/>
              </a:rPr>
              <a:t>	</a:t>
            </a:r>
          </a:p>
          <a:p>
            <a:pPr marL="12700" lvl="0">
              <a:lnSpc>
                <a:spcPct val="80000"/>
              </a:lnSpc>
              <a:spcBef>
                <a:spcPts val="100"/>
              </a:spcBef>
              <a:buSzPts val="2400"/>
              <a:tabLst>
                <a:tab pos="355600" algn="l"/>
              </a:tabLst>
            </a:pPr>
            <a:r>
              <a:rPr lang="en-US" altLang="ja-JP" sz="1800" b="1" i="0" u="none" strike="noStrike" cap="none" dirty="0">
                <a:solidFill>
                  <a:schemeClr val="dk1"/>
                </a:solidFill>
                <a:latin typeface="Meiryo"/>
                <a:ea typeface="Meiryo"/>
                <a:cs typeface="Meiryo"/>
                <a:sym typeface="Meiryo"/>
              </a:rPr>
              <a:t>｢</a:t>
            </a:r>
            <a:r>
              <a:rPr lang="ja-JP" altLang="ja-JP" sz="1800" b="1" spc="-150">
                <a:solidFill>
                  <a:schemeClr val="dk1"/>
                </a:solidFill>
                <a:latin typeface="Meiryo"/>
                <a:ea typeface="Meiryo"/>
                <a:cs typeface="Meiryo"/>
                <a:sym typeface="Meiryo"/>
              </a:rPr>
              <a:t>すべて</a:t>
            </a:r>
            <a:r>
              <a:rPr lang="ja-JP" altLang="ja-JP" sz="1800" b="1" spc="-150" dirty="0">
                <a:solidFill>
                  <a:schemeClr val="dk1"/>
                </a:solidFill>
                <a:latin typeface="Meiryo"/>
                <a:ea typeface="Meiryo"/>
                <a:cs typeface="Meiryo"/>
                <a:sym typeface="Meiryo"/>
              </a:rPr>
              <a:t>ブロック</a:t>
            </a:r>
            <a:r>
              <a:rPr lang="en-US" altLang="ja-JP" sz="1800" b="1" i="0" u="none" strike="noStrike" cap="none" dirty="0">
                <a:solidFill>
                  <a:schemeClr val="dk1"/>
                </a:solidFill>
                <a:latin typeface="Meiryo"/>
                <a:ea typeface="Meiryo"/>
                <a:cs typeface="Meiryo"/>
                <a:sym typeface="Meiryo"/>
              </a:rPr>
              <a:t>｣</a:t>
            </a:r>
          </a:p>
          <a:p>
            <a:pPr marL="12700" lvl="0">
              <a:lnSpc>
                <a:spcPct val="80000"/>
              </a:lnSpc>
              <a:spcBef>
                <a:spcPts val="100"/>
              </a:spcBef>
              <a:buSzPts val="2400"/>
              <a:tabLst>
                <a:tab pos="355600" algn="l"/>
              </a:tabLst>
            </a:pPr>
            <a:r>
              <a:rPr lang="ja-JP" sz="1800" b="1" i="0" u="none" strike="noStrike" cap="none" dirty="0">
                <a:solidFill>
                  <a:schemeClr val="dk1"/>
                </a:solidFill>
                <a:latin typeface="Meiryo"/>
                <a:ea typeface="Meiryo"/>
                <a:cs typeface="Meiryo"/>
                <a:sym typeface="Meiryo"/>
              </a:rPr>
              <a:t>を</a:t>
            </a:r>
            <a:r>
              <a:rPr lang="ja-JP" altLang="en-US" sz="1800" b="1" i="0" u="none" strike="noStrike" cap="none" dirty="0">
                <a:solidFill>
                  <a:schemeClr val="dk1"/>
                </a:solidFill>
                <a:latin typeface="Meiryo"/>
                <a:ea typeface="Meiryo"/>
                <a:cs typeface="Meiryo"/>
                <a:sym typeface="Meiryo"/>
              </a:rPr>
              <a:t>オフ</a:t>
            </a:r>
            <a:endParaRPr sz="1400" b="0" i="0" u="none" strike="noStrike" cap="none" dirty="0">
              <a:solidFill>
                <a:srgbClr val="000000"/>
              </a:solidFill>
              <a:latin typeface="Arial"/>
              <a:ea typeface="Arial"/>
              <a:cs typeface="Arial"/>
              <a:sym typeface="Arial"/>
            </a:endParaRPr>
          </a:p>
        </p:txBody>
      </p:sp>
      <p:grpSp>
        <p:nvGrpSpPr>
          <p:cNvPr id="79" name="図形グループ 78"/>
          <p:cNvGrpSpPr>
            <a:grpSpLocks noChangeAspect="1"/>
          </p:cNvGrpSpPr>
          <p:nvPr/>
        </p:nvGrpSpPr>
        <p:grpSpPr>
          <a:xfrm>
            <a:off x="3404258" y="3304349"/>
            <a:ext cx="360000" cy="270000"/>
            <a:chOff x="3355262" y="5469690"/>
            <a:chExt cx="720000" cy="540000"/>
          </a:xfrm>
        </p:grpSpPr>
        <p:cxnSp>
          <p:nvCxnSpPr>
            <p:cNvPr id="80" name="カギ線コネクタ 79"/>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82" name="図形グループ 81"/>
          <p:cNvGrpSpPr>
            <a:grpSpLocks noChangeAspect="1"/>
          </p:cNvGrpSpPr>
          <p:nvPr/>
        </p:nvGrpSpPr>
        <p:grpSpPr>
          <a:xfrm>
            <a:off x="5019763" y="3304349"/>
            <a:ext cx="360000" cy="270000"/>
            <a:chOff x="3355262" y="5469690"/>
            <a:chExt cx="720000" cy="540000"/>
          </a:xfrm>
        </p:grpSpPr>
        <p:cxnSp>
          <p:nvCxnSpPr>
            <p:cNvPr id="83" name="カギ線コネクタ 8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85" name="図形グループ 84"/>
          <p:cNvGrpSpPr>
            <a:grpSpLocks noChangeAspect="1"/>
          </p:cNvGrpSpPr>
          <p:nvPr/>
        </p:nvGrpSpPr>
        <p:grpSpPr>
          <a:xfrm>
            <a:off x="1795590" y="3304349"/>
            <a:ext cx="360000" cy="270000"/>
            <a:chOff x="3355262" y="5469690"/>
            <a:chExt cx="720000" cy="540000"/>
          </a:xfrm>
        </p:grpSpPr>
        <p:cxnSp>
          <p:nvCxnSpPr>
            <p:cNvPr id="86" name="カギ線コネクタ 85"/>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88" name="図形グループ 87"/>
          <p:cNvGrpSpPr>
            <a:grpSpLocks noChangeAspect="1"/>
          </p:cNvGrpSpPr>
          <p:nvPr/>
        </p:nvGrpSpPr>
        <p:grpSpPr>
          <a:xfrm>
            <a:off x="6645367" y="3304349"/>
            <a:ext cx="360000" cy="270000"/>
            <a:chOff x="3355262" y="5469690"/>
            <a:chExt cx="720000" cy="540000"/>
          </a:xfrm>
        </p:grpSpPr>
        <p:cxnSp>
          <p:nvCxnSpPr>
            <p:cNvPr id="89" name="カギ線コネクタ 8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グループ化 4" descr="通知画面で「すべてブロック」をオフにしている画像">
            <a:extLst>
              <a:ext uri="{FF2B5EF4-FFF2-40B4-BE49-F238E27FC236}">
                <a16:creationId xmlns:a16="http://schemas.microsoft.com/office/drawing/2014/main" id="{88B61636-F0D8-418C-B166-C8084D593E6B}"/>
              </a:ext>
            </a:extLst>
          </p:cNvPr>
          <p:cNvGrpSpPr/>
          <p:nvPr/>
        </p:nvGrpSpPr>
        <p:grpSpPr>
          <a:xfrm>
            <a:off x="6919746" y="2789768"/>
            <a:ext cx="1398885" cy="2160000"/>
            <a:chOff x="6919746" y="2789768"/>
            <a:chExt cx="1398885" cy="2160000"/>
          </a:xfrm>
        </p:grpSpPr>
        <p:sp>
          <p:nvSpPr>
            <p:cNvPr id="65" name="Google Shape;1344;p27"/>
            <p:cNvSpPr>
              <a:spLocks noChangeAspect="1"/>
            </p:cNvSpPr>
            <p:nvPr/>
          </p:nvSpPr>
          <p:spPr>
            <a:xfrm>
              <a:off x="7096265" y="2791312"/>
              <a:ext cx="1196072" cy="2102400"/>
            </a:xfrm>
            <a:prstGeom prst="rect">
              <a:avLst/>
            </a:prstGeom>
            <a:blipFill rotWithShape="1">
              <a:blip r:embed="rId4">
                <a:alphaModFix/>
              </a:blip>
              <a:stretch>
                <a:fillRect/>
              </a:stretch>
            </a:blipFill>
            <a:ln w="9525">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66" name="Google Shape;1345;p27"/>
            <p:cNvSpPr/>
            <p:nvPr/>
          </p:nvSpPr>
          <p:spPr>
            <a:xfrm>
              <a:off x="7095010" y="2789768"/>
              <a:ext cx="1191600" cy="2160000"/>
            </a:xfrm>
            <a:custGeom>
              <a:avLst/>
              <a:gdLst/>
              <a:ahLst/>
              <a:cxnLst/>
              <a:rect l="l" t="t" r="r" b="b"/>
              <a:pathLst>
                <a:path w="1129665" h="2132329" extrusionOk="0">
                  <a:moveTo>
                    <a:pt x="0" y="0"/>
                  </a:moveTo>
                  <a:lnTo>
                    <a:pt x="1129284" y="0"/>
                  </a:lnTo>
                  <a:lnTo>
                    <a:pt x="1129284" y="2132075"/>
                  </a:lnTo>
                  <a:lnTo>
                    <a:pt x="0" y="2132075"/>
                  </a:lnTo>
                  <a:lnTo>
                    <a:pt x="0" y="0"/>
                  </a:lnTo>
                  <a:close/>
                </a:path>
              </a:pathLst>
            </a:custGeom>
            <a:noFill/>
            <a:ln w="9525" cap="flat" cmpd="sng">
              <a:solidFill>
                <a:schemeClr val="tx1">
                  <a:lumMod val="50000"/>
                  <a:lumOff val="50000"/>
                </a:schemeClr>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69" name="Google Shape;1365;p27"/>
            <p:cNvSpPr/>
            <p:nvPr/>
          </p:nvSpPr>
          <p:spPr>
            <a:xfrm>
              <a:off x="7058631" y="3161186"/>
              <a:ext cx="1260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91" name="図形グループ 90"/>
            <p:cNvGrpSpPr/>
            <p:nvPr/>
          </p:nvGrpSpPr>
          <p:grpSpPr>
            <a:xfrm>
              <a:off x="6919746" y="3013554"/>
              <a:ext cx="296586" cy="293005"/>
              <a:chOff x="5878361" y="3995693"/>
              <a:chExt cx="296586" cy="293005"/>
            </a:xfrm>
          </p:grpSpPr>
          <p:sp>
            <p:nvSpPr>
              <p:cNvPr id="92" name="円/楕円 91"/>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3" name="フリーフォーム 92"/>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4" name="グループ化 3" descr="アプリ情報画面で「通知」をタップしている画像">
            <a:extLst>
              <a:ext uri="{FF2B5EF4-FFF2-40B4-BE49-F238E27FC236}">
                <a16:creationId xmlns:a16="http://schemas.microsoft.com/office/drawing/2014/main" id="{5CD1DA63-675E-433A-91AA-106126E64DC2}"/>
              </a:ext>
            </a:extLst>
          </p:cNvPr>
          <p:cNvGrpSpPr/>
          <p:nvPr/>
        </p:nvGrpSpPr>
        <p:grpSpPr>
          <a:xfrm>
            <a:off x="5304312" y="2789768"/>
            <a:ext cx="1324510" cy="2160000"/>
            <a:chOff x="5304312" y="2789768"/>
            <a:chExt cx="1324510" cy="2160000"/>
          </a:xfrm>
        </p:grpSpPr>
        <p:sp>
          <p:nvSpPr>
            <p:cNvPr id="63" name="Google Shape;1341;p27"/>
            <p:cNvSpPr/>
            <p:nvPr/>
          </p:nvSpPr>
          <p:spPr>
            <a:xfrm>
              <a:off x="5469314" y="2789768"/>
              <a:ext cx="1135307" cy="2103920"/>
            </a:xfrm>
            <a:prstGeom prst="rect">
              <a:avLst/>
            </a:prstGeom>
            <a:blipFill rotWithShape="1">
              <a:blip r:embed="rId5">
                <a:alphaModFix/>
              </a:blip>
              <a:stretch>
                <a:fillRect/>
              </a:stretch>
            </a:blipFill>
            <a:ln w="9525">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64" name="Google Shape;1342;p27"/>
            <p:cNvSpPr/>
            <p:nvPr/>
          </p:nvSpPr>
          <p:spPr>
            <a:xfrm>
              <a:off x="5469314" y="2789768"/>
              <a:ext cx="1130400" cy="2160000"/>
            </a:xfrm>
            <a:custGeom>
              <a:avLst/>
              <a:gdLst/>
              <a:ahLst/>
              <a:cxnLst/>
              <a:rect l="l" t="t" r="r" b="b"/>
              <a:pathLst>
                <a:path w="1068704" h="2127885" extrusionOk="0">
                  <a:moveTo>
                    <a:pt x="0" y="0"/>
                  </a:moveTo>
                  <a:lnTo>
                    <a:pt x="1068324" y="0"/>
                  </a:lnTo>
                  <a:lnTo>
                    <a:pt x="1068324" y="2127504"/>
                  </a:lnTo>
                  <a:lnTo>
                    <a:pt x="0" y="2127504"/>
                  </a:lnTo>
                  <a:lnTo>
                    <a:pt x="0" y="0"/>
                  </a:lnTo>
                  <a:close/>
                </a:path>
              </a:pathLst>
            </a:custGeom>
            <a:noFill/>
            <a:ln w="9525" cap="flat" cmpd="sng">
              <a:solidFill>
                <a:schemeClr val="tx1">
                  <a:lumMod val="50000"/>
                  <a:lumOff val="50000"/>
                </a:schemeClr>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70" name="Google Shape;1369;p27"/>
            <p:cNvSpPr/>
            <p:nvPr/>
          </p:nvSpPr>
          <p:spPr>
            <a:xfrm>
              <a:off x="5440822" y="4055797"/>
              <a:ext cx="118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94" name="図形グループ 93"/>
            <p:cNvGrpSpPr/>
            <p:nvPr/>
          </p:nvGrpSpPr>
          <p:grpSpPr>
            <a:xfrm>
              <a:off x="5304312" y="3902562"/>
              <a:ext cx="296586" cy="293005"/>
              <a:chOff x="5101121" y="3995693"/>
              <a:chExt cx="296586" cy="293005"/>
            </a:xfrm>
          </p:grpSpPr>
          <p:sp>
            <p:nvSpPr>
              <p:cNvPr id="95" name="円/楕円 9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6" name="フリーフォーム 9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2" name="グループ化 1" descr="アプリ画面で「クロン」をタップしている画像">
            <a:extLst>
              <a:ext uri="{FF2B5EF4-FFF2-40B4-BE49-F238E27FC236}">
                <a16:creationId xmlns:a16="http://schemas.microsoft.com/office/drawing/2014/main" id="{222DB35F-17F8-404A-899C-27434C80AE3A}"/>
              </a:ext>
            </a:extLst>
          </p:cNvPr>
          <p:cNvGrpSpPr/>
          <p:nvPr/>
        </p:nvGrpSpPr>
        <p:grpSpPr>
          <a:xfrm>
            <a:off x="3673635" y="2789768"/>
            <a:ext cx="1340820" cy="2160000"/>
            <a:chOff x="3673635" y="2789768"/>
            <a:chExt cx="1340820" cy="2160000"/>
          </a:xfrm>
        </p:grpSpPr>
        <p:sp>
          <p:nvSpPr>
            <p:cNvPr id="67" name="Google Shape;1347;p27"/>
            <p:cNvSpPr/>
            <p:nvPr/>
          </p:nvSpPr>
          <p:spPr>
            <a:xfrm>
              <a:off x="3853154" y="2794334"/>
              <a:ext cx="1128143" cy="2101334"/>
            </a:xfrm>
            <a:prstGeom prst="rect">
              <a:avLst/>
            </a:prstGeom>
            <a:blipFill rotWithShape="1">
              <a:blip r:embed="rId6">
                <a:alphaModFix/>
              </a:blip>
              <a:stretch>
                <a:fillRect/>
              </a:stretch>
            </a:blipFill>
            <a:ln w="9525">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68" name="Google Shape;1348;p27"/>
            <p:cNvSpPr/>
            <p:nvPr/>
          </p:nvSpPr>
          <p:spPr>
            <a:xfrm>
              <a:off x="3848367" y="2789768"/>
              <a:ext cx="1138250" cy="2160000"/>
            </a:xfrm>
            <a:custGeom>
              <a:avLst/>
              <a:gdLst/>
              <a:ahLst/>
              <a:cxnLst/>
              <a:rect l="l" t="t" r="r" b="b"/>
              <a:pathLst>
                <a:path w="1087120" h="2162810" extrusionOk="0">
                  <a:moveTo>
                    <a:pt x="0" y="0"/>
                  </a:moveTo>
                  <a:lnTo>
                    <a:pt x="1086612" y="0"/>
                  </a:lnTo>
                  <a:lnTo>
                    <a:pt x="1086612" y="2162556"/>
                  </a:lnTo>
                  <a:lnTo>
                    <a:pt x="0" y="2162556"/>
                  </a:lnTo>
                  <a:lnTo>
                    <a:pt x="0" y="0"/>
                  </a:lnTo>
                  <a:close/>
                </a:path>
              </a:pathLst>
            </a:custGeom>
            <a:noFill/>
            <a:ln w="9525" cap="flat" cmpd="sng">
              <a:solidFill>
                <a:schemeClr val="tx1">
                  <a:lumMod val="50000"/>
                  <a:lumOff val="50000"/>
                </a:schemeClr>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71" name="Google Shape;1373;p27"/>
            <p:cNvSpPr/>
            <p:nvPr/>
          </p:nvSpPr>
          <p:spPr>
            <a:xfrm>
              <a:off x="3826455" y="4068716"/>
              <a:ext cx="118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97" name="図形グループ 96"/>
            <p:cNvGrpSpPr/>
            <p:nvPr/>
          </p:nvGrpSpPr>
          <p:grpSpPr>
            <a:xfrm>
              <a:off x="3673635" y="3927963"/>
              <a:ext cx="296586" cy="293005"/>
              <a:chOff x="4232441" y="3995693"/>
              <a:chExt cx="296586" cy="293005"/>
            </a:xfrm>
          </p:grpSpPr>
          <p:sp>
            <p:nvSpPr>
              <p:cNvPr id="98" name="円/楕円 97"/>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9" name="フリーフォーム 9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3" name="グループ化 2" descr="設定画面で「アプリ」をタップしている画像">
            <a:extLst>
              <a:ext uri="{FF2B5EF4-FFF2-40B4-BE49-F238E27FC236}">
                <a16:creationId xmlns:a16="http://schemas.microsoft.com/office/drawing/2014/main" id="{BB06D413-DAF5-47E4-99F1-D729E058476E}"/>
              </a:ext>
            </a:extLst>
          </p:cNvPr>
          <p:cNvGrpSpPr/>
          <p:nvPr/>
        </p:nvGrpSpPr>
        <p:grpSpPr>
          <a:xfrm>
            <a:off x="2064971" y="2789768"/>
            <a:ext cx="1329300" cy="2160000"/>
            <a:chOff x="2064971" y="2789768"/>
            <a:chExt cx="1329300" cy="2160000"/>
          </a:xfrm>
        </p:grpSpPr>
        <p:sp>
          <p:nvSpPr>
            <p:cNvPr id="61" name="Google Shape;1338;p27"/>
            <p:cNvSpPr/>
            <p:nvPr/>
          </p:nvSpPr>
          <p:spPr>
            <a:xfrm>
              <a:off x="2232436" y="2791312"/>
              <a:ext cx="1132940" cy="2099534"/>
            </a:xfrm>
            <a:prstGeom prst="rect">
              <a:avLst/>
            </a:prstGeom>
            <a:blipFill rotWithShape="1">
              <a:blip r:embed="rId7">
                <a:alphaModFix/>
              </a:blip>
              <a:stretch>
                <a:fillRect/>
              </a:stretch>
            </a:blipFill>
            <a:ln w="9525">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62" name="Google Shape;1339;p27"/>
            <p:cNvSpPr/>
            <p:nvPr/>
          </p:nvSpPr>
          <p:spPr>
            <a:xfrm>
              <a:off x="2235531" y="2789768"/>
              <a:ext cx="1126800" cy="2160000"/>
            </a:xfrm>
            <a:custGeom>
              <a:avLst/>
              <a:gdLst/>
              <a:ahLst/>
              <a:cxnLst/>
              <a:rect l="l" t="t" r="r" b="b"/>
              <a:pathLst>
                <a:path w="1069975" h="2132329" extrusionOk="0">
                  <a:moveTo>
                    <a:pt x="0" y="0"/>
                  </a:moveTo>
                  <a:lnTo>
                    <a:pt x="1069848" y="0"/>
                  </a:lnTo>
                  <a:lnTo>
                    <a:pt x="1069848" y="2132076"/>
                  </a:lnTo>
                  <a:lnTo>
                    <a:pt x="0" y="2132076"/>
                  </a:lnTo>
                  <a:lnTo>
                    <a:pt x="0" y="0"/>
                  </a:lnTo>
                  <a:close/>
                </a:path>
              </a:pathLst>
            </a:custGeom>
            <a:noFill/>
            <a:ln w="9525" cap="flat" cmpd="sng">
              <a:solidFill>
                <a:schemeClr val="tx1">
                  <a:lumMod val="50000"/>
                  <a:lumOff val="50000"/>
                </a:schemeClr>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72" name="Google Shape;1377;p27"/>
            <p:cNvSpPr/>
            <p:nvPr/>
          </p:nvSpPr>
          <p:spPr>
            <a:xfrm>
              <a:off x="2206271" y="3790812"/>
              <a:ext cx="118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100" name="図形グループ 99"/>
            <p:cNvGrpSpPr/>
            <p:nvPr/>
          </p:nvGrpSpPr>
          <p:grpSpPr>
            <a:xfrm>
              <a:off x="2064971" y="3640092"/>
              <a:ext cx="296586" cy="293005"/>
              <a:chOff x="3546641" y="3995693"/>
              <a:chExt cx="296586" cy="293005"/>
            </a:xfrm>
          </p:grpSpPr>
          <p:sp>
            <p:nvSpPr>
              <p:cNvPr id="101" name="円/楕円 100"/>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2" name="フリーフォーム 10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103" name="図形グループ 102"/>
          <p:cNvGrpSpPr/>
          <p:nvPr/>
        </p:nvGrpSpPr>
        <p:grpSpPr>
          <a:xfrm>
            <a:off x="1263346" y="3741691"/>
            <a:ext cx="296587" cy="293005"/>
            <a:chOff x="2897417" y="3995693"/>
            <a:chExt cx="296587" cy="293005"/>
          </a:xfrm>
        </p:grpSpPr>
        <p:sp>
          <p:nvSpPr>
            <p:cNvPr id="104" name="円/楕円 10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 name="テキスト ボックス 10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747"/>
        <p:cNvGrpSpPr/>
        <p:nvPr/>
      </p:nvGrpSpPr>
      <p:grpSpPr>
        <a:xfrm>
          <a:off x="0" y="0"/>
          <a:ext cx="0" cy="0"/>
          <a:chOff x="0" y="0"/>
          <a:chExt cx="0" cy="0"/>
        </a:xfrm>
      </p:grpSpPr>
      <p:sp>
        <p:nvSpPr>
          <p:cNvPr id="4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46"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5</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アプリ通知</a:t>
            </a:r>
            <a:r>
              <a:rPr lang="en-US" altLang="ja-JP" sz="3200" dirty="0">
                <a:latin typeface="Meiryo"/>
                <a:ea typeface="Meiryo"/>
                <a:cs typeface="Meiryo"/>
                <a:sym typeface="Meiryo"/>
              </a:rPr>
              <a:t>ON</a:t>
            </a:r>
            <a:r>
              <a:rPr lang="ja-JP" altLang="ja-JP" sz="3200" dirty="0">
                <a:latin typeface="Meiryo"/>
                <a:ea typeface="Meiryo"/>
                <a:cs typeface="Meiryo"/>
                <a:sym typeface="Meiryo"/>
              </a:rPr>
              <a:t>の設</a:t>
            </a:r>
            <a:r>
              <a:rPr lang="ja-JP" altLang="ja-JP" sz="3200" spc="-1250" dirty="0">
                <a:latin typeface="Meiryo"/>
                <a:ea typeface="Meiryo"/>
                <a:cs typeface="Meiryo"/>
                <a:sym typeface="Meiryo"/>
              </a:rPr>
              <a:t>定</a:t>
            </a:r>
            <a:r>
              <a:rPr lang="ja-JP" altLang="en-US" sz="3200" b="0" dirty="0">
                <a:sym typeface="Meiryo"/>
              </a:rPr>
              <a:t>［</a:t>
            </a:r>
            <a:r>
              <a:rPr lang="en-US" altLang="ja-JP" sz="3200" dirty="0">
                <a:latin typeface="Meiryo"/>
                <a:ea typeface="Meiryo"/>
                <a:cs typeface="Meiryo"/>
                <a:sym typeface="Meiryo"/>
              </a:rPr>
              <a:t>2</a:t>
            </a:r>
            <a:r>
              <a:rPr lang="ja-JP" altLang="en-US" sz="3200" b="0" dirty="0">
                <a:sym typeface="Meiryo"/>
              </a:rPr>
              <a:t>］</a:t>
            </a:r>
            <a:endParaRPr kumimoji="0" lang="ja-JP" altLang="en-US" sz="3200" b="0" kern="0" dirty="0"/>
          </a:p>
        </p:txBody>
      </p:sp>
      <p:sp>
        <p:nvSpPr>
          <p:cNvPr id="42" name="Google Shape;1391;p28"/>
          <p:cNvSpPr txBox="1"/>
          <p:nvPr/>
        </p:nvSpPr>
        <p:spPr>
          <a:xfrm>
            <a:off x="610981" y="5946209"/>
            <a:ext cx="7200000" cy="226400"/>
          </a:xfrm>
          <a:prstGeom prst="rect">
            <a:avLst/>
          </a:prstGeom>
          <a:noFill/>
          <a:ln>
            <a:noFill/>
          </a:ln>
        </p:spPr>
        <p:txBody>
          <a:bodyPr spcFirstLastPara="1" wrap="square" lIns="0" tIns="1085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Meiryo"/>
                <a:ea typeface="Meiryo"/>
                <a:cs typeface="Meiryo"/>
                <a:sym typeface="Meiryo"/>
              </a:rPr>
              <a:t>医療機関から通知の来る前にアプリのPush通知機能をオンにしておきましょう。</a:t>
            </a:r>
            <a:endParaRPr sz="1400" b="0" i="0" u="none" strike="noStrike" cap="none">
              <a:solidFill>
                <a:srgbClr val="000000"/>
              </a:solidFill>
              <a:latin typeface="Arial"/>
              <a:ea typeface="Arial"/>
              <a:cs typeface="Arial"/>
              <a:sym typeface="Arial"/>
            </a:endParaRPr>
          </a:p>
        </p:txBody>
      </p:sp>
      <p:sp>
        <p:nvSpPr>
          <p:cNvPr id="43" name="Google Shape;1392;p28"/>
          <p:cNvSpPr txBox="1"/>
          <p:nvPr/>
        </p:nvSpPr>
        <p:spPr>
          <a:xfrm>
            <a:off x="581075" y="1380744"/>
            <a:ext cx="7221805" cy="357205"/>
          </a:xfrm>
          <a:prstGeom prst="rect">
            <a:avLst/>
          </a:prstGeom>
          <a:noFill/>
          <a:ln>
            <a:noFill/>
          </a:ln>
        </p:spPr>
        <p:txBody>
          <a:bodyPr spcFirstLastPara="1" wrap="square" lIns="0" tIns="10850" rIns="0" bIns="0" anchor="t" anchorCtr="0">
            <a:spAutoFit/>
          </a:bodyPr>
          <a:lstStyle/>
          <a:p>
            <a:pPr marL="10860" marR="4344" lvl="0" indent="0" algn="l" rtl="0">
              <a:lnSpc>
                <a:spcPct val="125000"/>
              </a:lnSpc>
              <a:spcBef>
                <a:spcPts val="0"/>
              </a:spcBef>
              <a:spcAft>
                <a:spcPts val="0"/>
              </a:spcAft>
              <a:buClr>
                <a:srgbClr val="000000"/>
              </a:buClr>
              <a:buSzPts val="1800"/>
              <a:buFont typeface="Arial"/>
              <a:buNone/>
            </a:pPr>
            <a:r>
              <a:rPr lang="ja-JP" sz="1800" b="1" i="0" u="none" strike="noStrike" cap="none">
                <a:solidFill>
                  <a:srgbClr val="009650"/>
                </a:solidFill>
                <a:latin typeface="Meiryo"/>
                <a:ea typeface="Meiryo"/>
                <a:cs typeface="Meiryo"/>
                <a:sym typeface="Meiryo"/>
              </a:rPr>
              <a:t>iPhoneの場合</a:t>
            </a:r>
            <a:endParaRPr sz="1800" b="1" i="0" u="none" strike="noStrike" cap="none">
              <a:solidFill>
                <a:schemeClr val="dk1"/>
              </a:solidFill>
              <a:latin typeface="Meiryo"/>
              <a:ea typeface="Meiryo"/>
              <a:cs typeface="Meiryo"/>
              <a:sym typeface="Meiryo"/>
            </a:endParaRPr>
          </a:p>
        </p:txBody>
      </p:sp>
      <p:sp>
        <p:nvSpPr>
          <p:cNvPr id="44" name="Google Shape;1393;p28"/>
          <p:cNvSpPr txBox="1"/>
          <p:nvPr/>
        </p:nvSpPr>
        <p:spPr>
          <a:xfrm>
            <a:off x="583302" y="1719616"/>
            <a:ext cx="2160000" cy="529889"/>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❶</a:t>
            </a:r>
            <a:r>
              <a:rPr lang="en-US" altLang="ja-JP" sz="1800" b="1" i="0" u="none" strike="noStrike" cap="none" dirty="0">
                <a:solidFill>
                  <a:schemeClr val="dk1"/>
                </a:solidFill>
                <a:latin typeface="Meiryo"/>
                <a:ea typeface="Meiryo"/>
                <a:cs typeface="Meiryo"/>
                <a:sym typeface="Meiryo"/>
              </a:rPr>
              <a:t>	</a:t>
            </a:r>
          </a:p>
          <a:p>
            <a:pPr marL="12700" marR="0" lvl="0" algn="l" rtl="0">
              <a:lnSpc>
                <a:spcPct val="80000"/>
              </a:lnSpc>
              <a:spcBef>
                <a:spcPts val="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altLang="en-US" sz="1800" b="1" dirty="0">
                <a:solidFill>
                  <a:schemeClr val="dk1"/>
                </a:solidFill>
                <a:latin typeface="Meiryo"/>
                <a:ea typeface="Meiryo"/>
                <a:cs typeface="Meiryo"/>
                <a:sym typeface="Meiryo"/>
              </a:rPr>
              <a:t>設定</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タップ</a:t>
            </a:r>
            <a:endParaRPr sz="1800" b="1" i="0" u="none" strike="noStrike" cap="none" dirty="0">
              <a:solidFill>
                <a:schemeClr val="dk1"/>
              </a:solidFill>
              <a:latin typeface="Meiryo"/>
              <a:ea typeface="Meiryo"/>
              <a:cs typeface="Meiryo"/>
              <a:sym typeface="Meiryo"/>
            </a:endParaRPr>
          </a:p>
        </p:txBody>
      </p:sp>
      <p:sp>
        <p:nvSpPr>
          <p:cNvPr id="47" name="Google Shape;1395;p28" descr="スマートフォンのホーム画面の「設定」をタップしている画像"/>
          <p:cNvSpPr>
            <a:spLocks noChangeAspect="1"/>
          </p:cNvSpPr>
          <p:nvPr/>
        </p:nvSpPr>
        <p:spPr>
          <a:xfrm>
            <a:off x="601600" y="2349236"/>
            <a:ext cx="1623274" cy="2880000"/>
          </a:xfrm>
          <a:prstGeom prst="rect">
            <a:avLst/>
          </a:prstGeom>
          <a:blipFill rotWithShape="1">
            <a:blip r:embed="rId3">
              <a:alphaModFix/>
            </a:blip>
            <a:stretch>
              <a:fillRect/>
            </a:stretch>
          </a:blipFill>
          <a:ln w="9525" cap="flat" cmpd="sng">
            <a:no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54" name="Google Shape;1409;p28"/>
          <p:cNvSpPr>
            <a:spLocks noChangeAspect="1"/>
          </p:cNvSpPr>
          <p:nvPr/>
        </p:nvSpPr>
        <p:spPr>
          <a:xfrm>
            <a:off x="1000223" y="4209486"/>
            <a:ext cx="432000" cy="432000"/>
          </a:xfrm>
          <a:prstGeom prst="rect">
            <a:avLst/>
          </a:prstGeom>
          <a:noFill/>
          <a:ln w="28575" cap="flat" cmpd="sng">
            <a:solidFill>
              <a:srgbClr val="FF0000"/>
            </a:solidFill>
            <a:prstDash val="solid"/>
            <a:miter lim="800000"/>
            <a:headEnd type="none" w="sm" len="sm"/>
            <a:tailEnd type="none" w="sm" len="sm"/>
          </a:ln>
          <a:effectLst>
            <a:glow rad="25400">
              <a:schemeClr val="bg1"/>
            </a:glo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67" name="Google Shape;1393;p28"/>
          <p:cNvSpPr txBox="1"/>
          <p:nvPr/>
        </p:nvSpPr>
        <p:spPr>
          <a:xfrm>
            <a:off x="2564497" y="1719616"/>
            <a:ext cx="2160000" cy="555537"/>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p>
          <a:p>
            <a:pPr marL="12700" marR="0" lvl="0" algn="l" rtl="0">
              <a:lnSpc>
                <a:spcPct val="80000"/>
              </a:lnSpc>
              <a:spcBef>
                <a:spcPts val="1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通知</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タップ</a:t>
            </a:r>
            <a:endParaRPr sz="1400" b="0" i="0" u="none" strike="noStrike" cap="none" dirty="0">
              <a:solidFill>
                <a:srgbClr val="000000"/>
              </a:solidFill>
              <a:latin typeface="Arial"/>
              <a:ea typeface="Arial"/>
              <a:cs typeface="Arial"/>
              <a:sym typeface="Arial"/>
            </a:endParaRPr>
          </a:p>
        </p:txBody>
      </p:sp>
      <p:sp>
        <p:nvSpPr>
          <p:cNvPr id="68" name="Google Shape;1393;p28"/>
          <p:cNvSpPr txBox="1"/>
          <p:nvPr/>
        </p:nvSpPr>
        <p:spPr>
          <a:xfrm>
            <a:off x="4537456" y="1719616"/>
            <a:ext cx="2160000" cy="555537"/>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❸</a:t>
            </a:r>
            <a:r>
              <a:rPr lang="en-US" altLang="ja-JP" sz="2400" b="1" i="0" u="none" strike="noStrike" cap="none" dirty="0">
                <a:solidFill>
                  <a:srgbClr val="009650"/>
                </a:solidFill>
                <a:latin typeface="Meiryo"/>
                <a:ea typeface="Meiryo"/>
                <a:cs typeface="Meiryo"/>
                <a:sym typeface="Meiryo"/>
              </a:rPr>
              <a:t>	</a:t>
            </a:r>
          </a:p>
          <a:p>
            <a:pPr marL="12700" marR="0" lvl="0" algn="l" rtl="0">
              <a:lnSpc>
                <a:spcPct val="80000"/>
              </a:lnSpc>
              <a:spcBef>
                <a:spcPts val="1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クロン</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タップ</a:t>
            </a:r>
            <a:endParaRPr sz="1400" b="0" i="0" u="none" strike="noStrike" cap="none" dirty="0">
              <a:solidFill>
                <a:srgbClr val="000000"/>
              </a:solidFill>
              <a:latin typeface="Arial"/>
              <a:ea typeface="Arial"/>
              <a:cs typeface="Arial"/>
              <a:sym typeface="Arial"/>
            </a:endParaRPr>
          </a:p>
        </p:txBody>
      </p:sp>
      <p:sp>
        <p:nvSpPr>
          <p:cNvPr id="69" name="Google Shape;1393;p28"/>
          <p:cNvSpPr txBox="1"/>
          <p:nvPr/>
        </p:nvSpPr>
        <p:spPr>
          <a:xfrm>
            <a:off x="6526895" y="1719616"/>
            <a:ext cx="2340000" cy="542713"/>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❹</a:t>
            </a:r>
            <a:r>
              <a:rPr lang="en-US" altLang="ja-JP" sz="2400" b="1" i="0" u="none" strike="noStrike" cap="none" dirty="0">
                <a:solidFill>
                  <a:srgbClr val="009650"/>
                </a:solidFill>
                <a:latin typeface="Meiryo"/>
                <a:ea typeface="Meiryo"/>
                <a:cs typeface="Meiryo"/>
                <a:sym typeface="Meiryo"/>
              </a:rPr>
              <a:t>	</a:t>
            </a:r>
          </a:p>
          <a:p>
            <a:pPr marL="12700" marR="0" lvl="0" algn="l" rtl="0">
              <a:lnSpc>
                <a:spcPct val="80000"/>
              </a:lnSpc>
              <a:spcBef>
                <a:spcPts val="1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通知</a:t>
            </a:r>
            <a:r>
              <a:rPr lang="ja-JP" altLang="en-US" sz="1800" b="1" i="0" u="none" strike="noStrike" cap="none" dirty="0">
                <a:solidFill>
                  <a:schemeClr val="dk1"/>
                </a:solidFill>
                <a:latin typeface="Meiryo"/>
                <a:ea typeface="Meiryo"/>
                <a:cs typeface="Meiryo"/>
                <a:sym typeface="Meiryo"/>
              </a:rPr>
              <a:t>を</a:t>
            </a:r>
            <a:r>
              <a:rPr lang="ja-JP" sz="1800" b="1" i="0" u="none" strike="noStrike" cap="none" dirty="0">
                <a:solidFill>
                  <a:schemeClr val="dk1"/>
                </a:solidFill>
                <a:latin typeface="Meiryo"/>
                <a:ea typeface="Meiryo"/>
                <a:cs typeface="Meiryo"/>
                <a:sym typeface="Meiryo"/>
              </a:rPr>
              <a:t>許可</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タップ</a:t>
            </a:r>
            <a:endParaRPr sz="1400" b="0" i="0" u="none" strike="noStrike" cap="none" dirty="0">
              <a:solidFill>
                <a:srgbClr val="000000"/>
              </a:solidFill>
              <a:latin typeface="Arial"/>
              <a:ea typeface="Arial"/>
              <a:cs typeface="Arial"/>
              <a:sym typeface="Arial"/>
            </a:endParaRPr>
          </a:p>
        </p:txBody>
      </p:sp>
      <p:grpSp>
        <p:nvGrpSpPr>
          <p:cNvPr id="4" name="グループ化 3" descr="クロン画面で「通知を許可」をタップしている画像">
            <a:extLst>
              <a:ext uri="{FF2B5EF4-FFF2-40B4-BE49-F238E27FC236}">
                <a16:creationId xmlns:a16="http://schemas.microsoft.com/office/drawing/2014/main" id="{42C9C5ED-DE77-4974-90C3-0C326F10F1BF}"/>
              </a:ext>
            </a:extLst>
          </p:cNvPr>
          <p:cNvGrpSpPr/>
          <p:nvPr/>
        </p:nvGrpSpPr>
        <p:grpSpPr>
          <a:xfrm>
            <a:off x="6413446" y="2349236"/>
            <a:ext cx="1806854" cy="2882318"/>
            <a:chOff x="6413446" y="2349236"/>
            <a:chExt cx="1806854" cy="2882318"/>
          </a:xfrm>
        </p:grpSpPr>
        <p:sp>
          <p:nvSpPr>
            <p:cNvPr id="52" name="Google Shape;1403;p28"/>
            <p:cNvSpPr>
              <a:spLocks noChangeAspect="1"/>
            </p:cNvSpPr>
            <p:nvPr/>
          </p:nvSpPr>
          <p:spPr>
            <a:xfrm>
              <a:off x="6549145" y="2351554"/>
              <a:ext cx="1670307" cy="2880000"/>
            </a:xfrm>
            <a:prstGeom prst="rect">
              <a:avLst/>
            </a:prstGeom>
            <a:blipFill rotWithShape="1">
              <a:blip r:embed="rId4">
                <a:alphaModFix/>
              </a:blip>
              <a:stretch>
                <a:fillRect/>
              </a:stretch>
            </a:blipFill>
            <a:ln w="9525" cap="flat" cmpd="sng">
              <a:no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53" name="Google Shape;1404;p28"/>
            <p:cNvSpPr/>
            <p:nvPr/>
          </p:nvSpPr>
          <p:spPr>
            <a:xfrm>
              <a:off x="6546825" y="2349236"/>
              <a:ext cx="1673475" cy="2880000"/>
            </a:xfrm>
            <a:custGeom>
              <a:avLst/>
              <a:gdLst/>
              <a:ahLst/>
              <a:cxnLst/>
              <a:rect l="l" t="t" r="r" b="b"/>
              <a:pathLst>
                <a:path w="1099184" h="1891665" extrusionOk="0">
                  <a:moveTo>
                    <a:pt x="0" y="0"/>
                  </a:moveTo>
                  <a:lnTo>
                    <a:pt x="1098803" y="0"/>
                  </a:lnTo>
                  <a:lnTo>
                    <a:pt x="1098803" y="1891283"/>
                  </a:lnTo>
                  <a:lnTo>
                    <a:pt x="0" y="1891283"/>
                  </a:lnTo>
                  <a:lnTo>
                    <a:pt x="0" y="0"/>
                  </a:lnTo>
                  <a:close/>
                </a:path>
              </a:pathLst>
            </a:custGeom>
            <a:noFill/>
            <a:ln w="9525" cap="flat" cmpd="sng">
              <a:solidFill>
                <a:schemeClr val="tx1">
                  <a:lumMod val="50000"/>
                  <a:lumOff val="50000"/>
                </a:schemeClr>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66" name="Google Shape;1421;p28"/>
            <p:cNvSpPr/>
            <p:nvPr/>
          </p:nvSpPr>
          <p:spPr>
            <a:xfrm>
              <a:off x="6569312" y="2823502"/>
              <a:ext cx="1620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70" name="図形グループ 69"/>
            <p:cNvGrpSpPr/>
            <p:nvPr/>
          </p:nvGrpSpPr>
          <p:grpSpPr>
            <a:xfrm>
              <a:off x="6413446" y="2666427"/>
              <a:ext cx="296586" cy="293005"/>
              <a:chOff x="5101121" y="3995693"/>
              <a:chExt cx="296586" cy="293005"/>
            </a:xfrm>
          </p:grpSpPr>
          <p:sp>
            <p:nvSpPr>
              <p:cNvPr id="71" name="円/楕円 70"/>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79" name="図形グループ 78"/>
          <p:cNvGrpSpPr/>
          <p:nvPr/>
        </p:nvGrpSpPr>
        <p:grpSpPr>
          <a:xfrm>
            <a:off x="848475" y="4054962"/>
            <a:ext cx="296587" cy="293005"/>
            <a:chOff x="2897417" y="3995693"/>
            <a:chExt cx="296587" cy="293005"/>
          </a:xfrm>
          <a:effectLst/>
        </p:grpSpPr>
        <p:sp>
          <p:nvSpPr>
            <p:cNvPr id="80" name="円/楕円 7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テキスト ボックス 8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 name="グループ化 1" descr="設定画面で「通知」をタップしている画像">
            <a:extLst>
              <a:ext uri="{FF2B5EF4-FFF2-40B4-BE49-F238E27FC236}">
                <a16:creationId xmlns:a16="http://schemas.microsoft.com/office/drawing/2014/main" id="{BF7322D1-CD40-4D29-9ABB-729685DF8277}"/>
              </a:ext>
            </a:extLst>
          </p:cNvPr>
          <p:cNvGrpSpPr/>
          <p:nvPr/>
        </p:nvGrpSpPr>
        <p:grpSpPr>
          <a:xfrm>
            <a:off x="2479829" y="2349236"/>
            <a:ext cx="2012563" cy="2886967"/>
            <a:chOff x="2479829" y="2349236"/>
            <a:chExt cx="2012563" cy="2886967"/>
          </a:xfrm>
        </p:grpSpPr>
        <p:sp>
          <p:nvSpPr>
            <p:cNvPr id="48" name="Google Shape;1397;p28"/>
            <p:cNvSpPr>
              <a:spLocks noChangeAspect="1"/>
            </p:cNvSpPr>
            <p:nvPr/>
          </p:nvSpPr>
          <p:spPr>
            <a:xfrm>
              <a:off x="2598997" y="2356203"/>
              <a:ext cx="1622043" cy="2880000"/>
            </a:xfrm>
            <a:prstGeom prst="rect">
              <a:avLst/>
            </a:prstGeom>
            <a:blipFill rotWithShape="1">
              <a:blip r:embed="rId5">
                <a:alphaModFix/>
              </a:blip>
              <a:stretch>
                <a:fillRect/>
              </a:stretch>
            </a:blipFill>
            <a:ln w="9525">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49" name="Google Shape;1398;p28"/>
            <p:cNvSpPr/>
            <p:nvPr/>
          </p:nvSpPr>
          <p:spPr>
            <a:xfrm>
              <a:off x="2592029" y="2349236"/>
              <a:ext cx="1628710" cy="2880000"/>
            </a:xfrm>
            <a:custGeom>
              <a:avLst/>
              <a:gdLst/>
              <a:ahLst/>
              <a:cxnLst/>
              <a:rect l="l" t="t" r="r" b="b"/>
              <a:pathLst>
                <a:path w="1068704" h="1889759" extrusionOk="0">
                  <a:moveTo>
                    <a:pt x="0" y="0"/>
                  </a:moveTo>
                  <a:lnTo>
                    <a:pt x="1068324" y="0"/>
                  </a:lnTo>
                  <a:lnTo>
                    <a:pt x="1068324" y="1889759"/>
                  </a:lnTo>
                  <a:lnTo>
                    <a:pt x="0" y="1889759"/>
                  </a:lnTo>
                  <a:lnTo>
                    <a:pt x="0" y="0"/>
                  </a:lnTo>
                  <a:close/>
                </a:path>
              </a:pathLst>
            </a:custGeom>
            <a:noFill/>
            <a:ln w="9525" cap="flat" cmpd="sng">
              <a:solidFill>
                <a:schemeClr val="tx1">
                  <a:lumMod val="50000"/>
                  <a:lumOff val="50000"/>
                </a:schemeClr>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55" name="Google Shape;1413;p28"/>
            <p:cNvSpPr/>
            <p:nvPr/>
          </p:nvSpPr>
          <p:spPr>
            <a:xfrm>
              <a:off x="2625659" y="3661841"/>
              <a:ext cx="154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76" name="図形グループ 75"/>
            <p:cNvGrpSpPr/>
            <p:nvPr/>
          </p:nvGrpSpPr>
          <p:grpSpPr>
            <a:xfrm>
              <a:off x="2479829" y="3513097"/>
              <a:ext cx="296586" cy="293005"/>
              <a:chOff x="3546641" y="3995693"/>
              <a:chExt cx="296586" cy="293005"/>
            </a:xfrm>
          </p:grpSpPr>
          <p:sp>
            <p:nvSpPr>
              <p:cNvPr id="77" name="円/楕円 7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82" name="図形グループ 81"/>
            <p:cNvGrpSpPr>
              <a:grpSpLocks noChangeAspect="1"/>
            </p:cNvGrpSpPr>
            <p:nvPr/>
          </p:nvGrpSpPr>
          <p:grpSpPr>
            <a:xfrm>
              <a:off x="4132392" y="3304349"/>
              <a:ext cx="360000" cy="270000"/>
              <a:chOff x="3355262" y="5469690"/>
              <a:chExt cx="720000" cy="540000"/>
            </a:xfrm>
          </p:grpSpPr>
          <p:cxnSp>
            <p:nvCxnSpPr>
              <p:cNvPr id="83" name="カギ線コネクタ 8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grpSp>
        <p:nvGrpSpPr>
          <p:cNvPr id="3" name="グループ化 2" descr="通知画面で「クロン」をタップしている画像">
            <a:extLst>
              <a:ext uri="{FF2B5EF4-FFF2-40B4-BE49-F238E27FC236}">
                <a16:creationId xmlns:a16="http://schemas.microsoft.com/office/drawing/2014/main" id="{D301A125-D006-43FC-B966-AC1727385C15}"/>
              </a:ext>
            </a:extLst>
          </p:cNvPr>
          <p:cNvGrpSpPr/>
          <p:nvPr/>
        </p:nvGrpSpPr>
        <p:grpSpPr>
          <a:xfrm>
            <a:off x="4452565" y="2349236"/>
            <a:ext cx="2019403" cy="2882302"/>
            <a:chOff x="4452565" y="2349236"/>
            <a:chExt cx="2019403" cy="2882302"/>
          </a:xfrm>
        </p:grpSpPr>
        <p:sp>
          <p:nvSpPr>
            <p:cNvPr id="50" name="Google Shape;1400;p28"/>
            <p:cNvSpPr>
              <a:spLocks noChangeAspect="1"/>
            </p:cNvSpPr>
            <p:nvPr/>
          </p:nvSpPr>
          <p:spPr>
            <a:xfrm>
              <a:off x="4570809" y="2351538"/>
              <a:ext cx="1624614" cy="2880000"/>
            </a:xfrm>
            <a:prstGeom prst="rect">
              <a:avLst/>
            </a:prstGeom>
            <a:blipFill rotWithShape="1">
              <a:blip r:embed="rId6">
                <a:alphaModFix/>
              </a:blip>
              <a:stretch>
                <a:fillRect/>
              </a:stretch>
            </a:blipFill>
            <a:ln w="9525">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51" name="Google Shape;1401;p28"/>
            <p:cNvSpPr/>
            <p:nvPr/>
          </p:nvSpPr>
          <p:spPr>
            <a:xfrm>
              <a:off x="4568509" y="2349236"/>
              <a:ext cx="1629285" cy="2880000"/>
            </a:xfrm>
            <a:custGeom>
              <a:avLst/>
              <a:gdLst/>
              <a:ahLst/>
              <a:cxnLst/>
              <a:rect l="l" t="t" r="r" b="b"/>
              <a:pathLst>
                <a:path w="1079500" h="1908175" extrusionOk="0">
                  <a:moveTo>
                    <a:pt x="0" y="0"/>
                  </a:moveTo>
                  <a:lnTo>
                    <a:pt x="1078992" y="0"/>
                  </a:lnTo>
                  <a:lnTo>
                    <a:pt x="1078992" y="1908048"/>
                  </a:lnTo>
                  <a:lnTo>
                    <a:pt x="0" y="1908048"/>
                  </a:lnTo>
                  <a:lnTo>
                    <a:pt x="0" y="0"/>
                  </a:lnTo>
                  <a:close/>
                </a:path>
              </a:pathLst>
            </a:custGeom>
            <a:noFill/>
            <a:ln w="9525" cap="flat" cmpd="sng">
              <a:solidFill>
                <a:schemeClr val="tx1">
                  <a:lumMod val="50000"/>
                  <a:lumOff val="50000"/>
                </a:schemeClr>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65" name="Google Shape;1417;p28"/>
            <p:cNvSpPr/>
            <p:nvPr/>
          </p:nvSpPr>
          <p:spPr>
            <a:xfrm>
              <a:off x="4603340" y="4528812"/>
              <a:ext cx="154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73" name="図形グループ 72"/>
            <p:cNvGrpSpPr/>
            <p:nvPr/>
          </p:nvGrpSpPr>
          <p:grpSpPr>
            <a:xfrm>
              <a:off x="4452565" y="4376698"/>
              <a:ext cx="296586" cy="293005"/>
              <a:chOff x="4232441" y="3995693"/>
              <a:chExt cx="296586" cy="293005"/>
            </a:xfrm>
          </p:grpSpPr>
          <p:sp>
            <p:nvSpPr>
              <p:cNvPr id="74" name="円/楕円 7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85" name="図形グループ 84"/>
            <p:cNvGrpSpPr>
              <a:grpSpLocks noChangeAspect="1"/>
            </p:cNvGrpSpPr>
            <p:nvPr/>
          </p:nvGrpSpPr>
          <p:grpSpPr>
            <a:xfrm>
              <a:off x="6111968" y="3304349"/>
              <a:ext cx="360000" cy="270000"/>
              <a:chOff x="3355262" y="5469690"/>
              <a:chExt cx="720000" cy="540000"/>
            </a:xfrm>
          </p:grpSpPr>
          <p:cxnSp>
            <p:nvCxnSpPr>
              <p:cNvPr id="86" name="カギ線コネクタ 85"/>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grpSp>
        <p:nvGrpSpPr>
          <p:cNvPr id="88" name="図形グループ 87"/>
          <p:cNvGrpSpPr>
            <a:grpSpLocks noChangeAspect="1"/>
          </p:cNvGrpSpPr>
          <p:nvPr/>
        </p:nvGrpSpPr>
        <p:grpSpPr>
          <a:xfrm>
            <a:off x="2142720" y="3304349"/>
            <a:ext cx="360000" cy="270000"/>
            <a:chOff x="3355262" y="5469690"/>
            <a:chExt cx="720000" cy="540000"/>
          </a:xfrm>
        </p:grpSpPr>
        <p:cxnSp>
          <p:nvCxnSpPr>
            <p:cNvPr id="89" name="カギ線コネクタ 8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pic>
        <p:nvPicPr>
          <p:cNvPr id="796" name="Google Shape;796;p22" descr="問診票画面で必要事項を入力し「この内容で提出する」をタップしている画像"/>
          <p:cNvPicPr preferRelativeResize="0"/>
          <p:nvPr/>
        </p:nvPicPr>
        <p:blipFill>
          <a:blip r:embed="rId3">
            <a:alphaModFix/>
          </a:blip>
          <a:stretch>
            <a:fillRect/>
          </a:stretch>
        </p:blipFill>
        <p:spPr>
          <a:xfrm>
            <a:off x="7055529" y="1988284"/>
            <a:ext cx="1485147" cy="3600024"/>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797" name="Google Shape;797;p22" descr="診療詳細画面で「問診票を回答する」をタップしている画像"/>
          <p:cNvPicPr preferRelativeResize="0"/>
          <p:nvPr/>
        </p:nvPicPr>
        <p:blipFill>
          <a:blip r:embed="rId4">
            <a:alphaModFix/>
          </a:blip>
          <a:stretch>
            <a:fillRect/>
          </a:stretch>
        </p:blipFill>
        <p:spPr>
          <a:xfrm>
            <a:off x="4999082" y="1988284"/>
            <a:ext cx="1662575" cy="3600000"/>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798" name="Google Shape;798;p22" descr="クロンの直近の診療画面で予約している診察をタップしている画像"/>
          <p:cNvPicPr preferRelativeResize="0">
            <a:picLocks noChangeAspect="1"/>
          </p:cNvPicPr>
          <p:nvPr/>
        </p:nvPicPr>
        <p:blipFill>
          <a:blip r:embed="rId5">
            <a:alphaModFix/>
          </a:blip>
          <a:stretch>
            <a:fillRect/>
          </a:stretch>
        </p:blipFill>
        <p:spPr>
          <a:xfrm>
            <a:off x="2953843" y="1988284"/>
            <a:ext cx="1662575" cy="3600014"/>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800" name="Google Shape;800;p22"/>
          <p:cNvSpPr txBox="1"/>
          <p:nvPr/>
        </p:nvSpPr>
        <p:spPr>
          <a:xfrm>
            <a:off x="323800" y="1916879"/>
            <a:ext cx="2521200" cy="4705760"/>
          </a:xfrm>
          <a:prstGeom prst="rect">
            <a:avLst/>
          </a:prstGeom>
          <a:noFill/>
          <a:ln>
            <a:noFill/>
          </a:ln>
        </p:spPr>
        <p:txBody>
          <a:bodyPr spcFirstLastPara="1" wrap="square" lIns="0" tIns="12050" rIns="0" bIns="0" anchor="t" anchorCtr="0">
            <a:spAutoFit/>
          </a:bodyPr>
          <a:lstStyle/>
          <a:p>
            <a:pPr marL="12700" marR="4344" lvl="0" algn="l" rtl="0">
              <a:spcBef>
                <a:spcPts val="0"/>
              </a:spcBef>
              <a:spcAft>
                <a:spcPts val="0"/>
              </a:spcAft>
              <a:buNone/>
              <a:tabLst>
                <a:tab pos="350838" algn="l"/>
              </a:tabLst>
            </a:pPr>
            <a:r>
              <a:rPr lang="ja-JP" sz="2400" b="1" i="0" u="none" strike="noStrike" cap="none" dirty="0">
                <a:solidFill>
                  <a:srgbClr val="009650"/>
                </a:solidFill>
                <a:latin typeface="Meiryo"/>
                <a:ea typeface="Meiryo"/>
                <a:cs typeface="Meiryo"/>
                <a:sym typeface="Meiryo"/>
              </a:rPr>
              <a:t>❶</a:t>
            </a:r>
            <a:r>
              <a:rPr lang="ja-JP" sz="1800" b="1" dirty="0">
                <a:solidFill>
                  <a:schemeClr val="tx1"/>
                </a:solidFill>
                <a:latin typeface="Meiryo"/>
                <a:ea typeface="Meiryo"/>
                <a:cs typeface="Meiryo"/>
                <a:sym typeface="Meiryo"/>
              </a:rPr>
              <a:t>予約</a:t>
            </a:r>
            <a:r>
              <a:rPr lang="ja-JP" altLang="en-US" sz="1800" b="1" dirty="0">
                <a:solidFill>
                  <a:schemeClr val="tx1"/>
                </a:solidFill>
                <a:latin typeface="Meiryo"/>
                <a:ea typeface="Meiryo"/>
                <a:cs typeface="Meiryo"/>
                <a:sym typeface="Meiryo"/>
              </a:rPr>
              <a:t>している診察</a:t>
            </a:r>
            <a:r>
              <a:rPr lang="ja-JP" sz="1800" b="1" i="0" u="none" strike="noStrike" cap="none" dirty="0">
                <a:solidFill>
                  <a:schemeClr val="tx1"/>
                </a:solidFill>
                <a:latin typeface="Meiryo"/>
                <a:ea typeface="Meiryo"/>
                <a:cs typeface="Meiryo"/>
                <a:sym typeface="Meiryo"/>
              </a:rPr>
              <a:t>を</a:t>
            </a:r>
            <a:endParaRPr lang="en-US" altLang="ja-JP" sz="1800" b="1" i="0" u="none" strike="noStrike" cap="none" dirty="0">
              <a:solidFill>
                <a:schemeClr val="tx1"/>
              </a:solidFill>
              <a:latin typeface="Meiryo"/>
              <a:ea typeface="Meiryo"/>
              <a:cs typeface="Meiryo"/>
              <a:sym typeface="Meiryo"/>
            </a:endParaRPr>
          </a:p>
          <a:p>
            <a:pPr marL="12700" marR="4344" lvl="0" algn="l" rtl="0">
              <a:spcBef>
                <a:spcPts val="0"/>
              </a:spcBef>
              <a:spcAft>
                <a:spcPts val="0"/>
              </a:spcAft>
              <a:buNone/>
              <a:tabLst>
                <a:tab pos="350838" algn="l"/>
              </a:tabLst>
            </a:pPr>
            <a:r>
              <a:rPr lang="en-US" altLang="ja-JP" sz="1800" b="1" dirty="0">
                <a:solidFill>
                  <a:schemeClr val="tx1"/>
                </a:solidFill>
                <a:latin typeface="Meiryo"/>
                <a:ea typeface="Meiryo"/>
                <a:cs typeface="Meiryo"/>
                <a:sym typeface="Meiryo"/>
              </a:rPr>
              <a:t>	</a:t>
            </a:r>
            <a:r>
              <a:rPr lang="ja-JP" sz="1800" b="1" i="0" u="none" strike="noStrike" cap="none" dirty="0">
                <a:solidFill>
                  <a:schemeClr val="tx1"/>
                </a:solidFill>
                <a:latin typeface="Meiryo"/>
                <a:ea typeface="Meiryo"/>
                <a:cs typeface="Meiryo"/>
                <a:sym typeface="Meiryo"/>
              </a:rPr>
              <a:t>タップ</a:t>
            </a:r>
            <a:endParaRPr sz="1800" b="1" i="0" u="none" strike="noStrike" cap="none" dirty="0">
              <a:solidFill>
                <a:schemeClr val="tx1"/>
              </a:solidFill>
              <a:latin typeface="Meiryo"/>
              <a:ea typeface="Meiryo"/>
              <a:cs typeface="Meiryo"/>
              <a:sym typeface="Meiryo"/>
            </a:endParaRPr>
          </a:p>
          <a:p>
            <a:pPr marL="12700" marR="4343" lvl="0" algn="l" rtl="0">
              <a:spcBef>
                <a:spcPts val="0"/>
              </a:spcBef>
              <a:spcAft>
                <a:spcPts val="0"/>
              </a:spcAft>
              <a:buNone/>
              <a:tabLst>
                <a:tab pos="350838" algn="l"/>
              </a:tabLst>
            </a:pPr>
            <a:r>
              <a:rPr lang="ja-JP" sz="2400" b="1" i="0" u="none" strike="noStrike" cap="none">
                <a:solidFill>
                  <a:srgbClr val="009650"/>
                </a:solidFill>
                <a:latin typeface="Meiryo"/>
                <a:ea typeface="Meiryo"/>
                <a:cs typeface="Meiryo"/>
                <a:sym typeface="Meiryo"/>
              </a:rPr>
              <a:t>❷</a:t>
            </a:r>
            <a:r>
              <a:rPr lang="en-US" altLang="ja-JP" sz="2400" b="1" i="0" u="none" strike="noStrike" cap="none">
                <a:solidFill>
                  <a:srgbClr val="009650"/>
                </a:solidFill>
                <a:latin typeface="Meiryo"/>
                <a:ea typeface="Meiryo"/>
                <a:cs typeface="Meiryo"/>
                <a:sym typeface="Meiryo"/>
              </a:rPr>
              <a:t>	</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問診票</a:t>
            </a:r>
            <a:r>
              <a:rPr lang="ja-JP" sz="1800" b="1" dirty="0">
                <a:solidFill>
                  <a:schemeClr val="dk1"/>
                </a:solidFill>
                <a:latin typeface="Meiryo"/>
                <a:ea typeface="Meiryo"/>
                <a:cs typeface="Meiryo"/>
                <a:sym typeface="Meiryo"/>
              </a:rPr>
              <a:t>を回答する</a:t>
            </a: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をタップ</a:t>
            </a:r>
            <a:endParaRPr sz="1800" b="1" dirty="0">
              <a:solidFill>
                <a:schemeClr val="dk1"/>
              </a:solidFill>
              <a:latin typeface="Meiryo"/>
              <a:ea typeface="Meiryo"/>
              <a:cs typeface="Meiryo"/>
              <a:sym typeface="Meiryo"/>
            </a:endParaRPr>
          </a:p>
          <a:p>
            <a:pPr marL="12700" lvl="0" algn="l" rtl="0">
              <a:spcBef>
                <a:spcPts val="100"/>
              </a:spcBef>
              <a:spcAft>
                <a:spcPts val="0"/>
              </a:spcAft>
              <a:buSzPts val="2400"/>
              <a:buNone/>
              <a:tabLst>
                <a:tab pos="350838" algn="l"/>
              </a:tabLst>
            </a:pPr>
            <a:r>
              <a:rPr lang="ja-JP" sz="2400" b="1" dirty="0">
                <a:solidFill>
                  <a:srgbClr val="009650"/>
                </a:solidFill>
                <a:latin typeface="Meiryo"/>
                <a:ea typeface="Meiryo"/>
                <a:cs typeface="Meiryo"/>
                <a:sym typeface="Meiryo"/>
              </a:rPr>
              <a:t>❸</a:t>
            </a:r>
            <a:r>
              <a:rPr lang="en-US" altLang="ja-JP" sz="2400" b="1"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必須事項を記入</a:t>
            </a:r>
            <a:endParaRPr sz="1800" b="1" dirty="0">
              <a:solidFill>
                <a:schemeClr val="dk1"/>
              </a:solidFill>
              <a:latin typeface="Meiryo"/>
              <a:ea typeface="Meiryo"/>
              <a:cs typeface="Meiryo"/>
              <a:sym typeface="Meiryo"/>
            </a:endParaRPr>
          </a:p>
          <a:p>
            <a:pPr marL="12700" lvl="0" algn="l" rtl="0">
              <a:spcBef>
                <a:spcPts val="100"/>
              </a:spcBef>
              <a:spcAft>
                <a:spcPts val="0"/>
              </a:spcAft>
              <a:buSzPts val="2400"/>
              <a:buNone/>
              <a:tabLst>
                <a:tab pos="350838" algn="l"/>
              </a:tabLst>
            </a:pPr>
            <a:r>
              <a:rPr lang="ja-JP" sz="2400" b="1">
                <a:solidFill>
                  <a:srgbClr val="009650"/>
                </a:solidFill>
                <a:latin typeface="Meiryo"/>
                <a:ea typeface="Meiryo"/>
                <a:cs typeface="Meiryo"/>
                <a:sym typeface="Meiryo"/>
              </a:rPr>
              <a:t>❹</a:t>
            </a:r>
            <a:r>
              <a:rPr lang="en-US" altLang="ja-JP" sz="2400" b="1">
                <a:solidFill>
                  <a:srgbClr val="009650"/>
                </a:solidFill>
                <a:latin typeface="Meiryo"/>
                <a:ea typeface="Meiryo"/>
                <a:cs typeface="Meiryo"/>
                <a:sym typeface="Meiryo"/>
              </a:rPr>
              <a:t>	</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この</a:t>
            </a:r>
            <a:r>
              <a:rPr lang="ja-JP" sz="1800" b="1" dirty="0">
                <a:solidFill>
                  <a:schemeClr val="dk1"/>
                </a:solidFill>
                <a:latin typeface="Meiryo"/>
                <a:ea typeface="Meiryo"/>
                <a:cs typeface="Meiryo"/>
                <a:sym typeface="Meiryo"/>
              </a:rPr>
              <a:t>内容で</a:t>
            </a:r>
            <a:endParaRPr lang="en-US" altLang="ja-JP" sz="1800" b="1" dirty="0">
              <a:solidFill>
                <a:schemeClr val="dk1"/>
              </a:solidFill>
              <a:latin typeface="Meiryo"/>
              <a:ea typeface="Meiryo"/>
              <a:cs typeface="Meiryo"/>
              <a:sym typeface="Meiryo"/>
            </a:endParaRPr>
          </a:p>
          <a:p>
            <a:pPr marL="12700" lvl="0" algn="l" rtl="0">
              <a:spcBef>
                <a:spcPts val="100"/>
              </a:spcBef>
              <a:spcAft>
                <a:spcPts val="0"/>
              </a:spcAft>
              <a:buSzPts val="2400"/>
              <a:buNone/>
              <a:tabLst>
                <a:tab pos="350838"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提出する</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タップ</a:t>
            </a:r>
            <a:endParaRPr lang="en-US" altLang="ja-JP" sz="1800" b="1" dirty="0">
              <a:solidFill>
                <a:schemeClr val="dk1"/>
              </a:solidFill>
              <a:latin typeface="Meiryo"/>
              <a:ea typeface="Meiryo"/>
              <a:cs typeface="Meiryo"/>
              <a:sym typeface="Meiryo"/>
            </a:endParaRPr>
          </a:p>
          <a:p>
            <a:pPr marL="12700" lvl="0" algn="l" rtl="0">
              <a:spcBef>
                <a:spcPts val="100"/>
              </a:spcBef>
              <a:spcAft>
                <a:spcPts val="0"/>
              </a:spcAft>
              <a:buSzPts val="2400"/>
              <a:buNone/>
              <a:tabLst>
                <a:tab pos="350838" algn="l"/>
              </a:tabLst>
            </a:pPr>
            <a:endParaRPr lang="en-US" sz="1800" b="1" dirty="0">
              <a:solidFill>
                <a:schemeClr val="dk1"/>
              </a:solidFill>
              <a:latin typeface="Meiryo"/>
              <a:ea typeface="Meiryo"/>
              <a:cs typeface="Meiryo"/>
              <a:sym typeface="Meiryo"/>
            </a:endParaRPr>
          </a:p>
          <a:p>
            <a:pPr marL="12700" marR="4344" lvl="0" algn="l" rtl="0">
              <a:spcBef>
                <a:spcPts val="0"/>
              </a:spcBef>
              <a:spcAft>
                <a:spcPts val="0"/>
              </a:spcAft>
              <a:buNone/>
              <a:tabLst>
                <a:tab pos="350838" algn="l"/>
              </a:tabLst>
            </a:pPr>
            <a:r>
              <a:rPr lang="en-US" altLang="ja-JP" sz="1600" b="1" dirty="0">
                <a:solidFill>
                  <a:schemeClr val="dk1"/>
                </a:solidFill>
                <a:latin typeface="Meiryo"/>
                <a:ea typeface="Meiryo"/>
                <a:cs typeface="Meiryo"/>
                <a:sym typeface="Meiryo"/>
              </a:rPr>
              <a:t>	※</a:t>
            </a:r>
            <a:r>
              <a:rPr lang="ja-JP" altLang="en-US" sz="1600" b="1" dirty="0">
                <a:solidFill>
                  <a:schemeClr val="dk1"/>
                </a:solidFill>
                <a:latin typeface="Meiryo"/>
                <a:ea typeface="Meiryo"/>
                <a:cs typeface="Meiryo"/>
                <a:sym typeface="Meiryo"/>
              </a:rPr>
              <a:t>医療機関から</a:t>
            </a:r>
            <a:endParaRPr lang="en-US" altLang="ja-JP" sz="1600" b="1" dirty="0">
              <a:solidFill>
                <a:schemeClr val="dk1"/>
              </a:solidFill>
              <a:latin typeface="Meiryo"/>
              <a:ea typeface="Meiryo"/>
              <a:cs typeface="Meiryo"/>
              <a:sym typeface="Meiryo"/>
            </a:endParaRPr>
          </a:p>
          <a:p>
            <a:pPr marL="12700" marR="4344" lvl="0" algn="l" rtl="0">
              <a:spcBef>
                <a:spcPts val="0"/>
              </a:spcBef>
              <a:spcAft>
                <a:spcPts val="0"/>
              </a:spcAft>
              <a:buNone/>
              <a:tabLst>
                <a:tab pos="350838" algn="l"/>
              </a:tabLst>
            </a:pPr>
            <a:r>
              <a:rPr lang="en-US" altLang="ja-JP" sz="1600" b="1" dirty="0">
                <a:solidFill>
                  <a:schemeClr val="dk1"/>
                </a:solidFill>
                <a:latin typeface="Meiryo"/>
                <a:ea typeface="Meiryo"/>
                <a:cs typeface="Meiryo"/>
                <a:sym typeface="Meiryo"/>
              </a:rPr>
              <a:t>	</a:t>
            </a:r>
            <a:r>
              <a:rPr lang="ja-JP" altLang="en-US" sz="1600" b="1" dirty="0">
                <a:solidFill>
                  <a:schemeClr val="dk1"/>
                </a:solidFill>
                <a:latin typeface="Meiryo"/>
                <a:ea typeface="Meiryo"/>
                <a:cs typeface="Meiryo"/>
                <a:sym typeface="Meiryo"/>
              </a:rPr>
              <a:t>問診票が送付される</a:t>
            </a:r>
            <a:endParaRPr lang="en-US" altLang="ja-JP" sz="1600" b="1" dirty="0">
              <a:solidFill>
                <a:schemeClr val="dk1"/>
              </a:solidFill>
              <a:latin typeface="Meiryo"/>
              <a:ea typeface="Meiryo"/>
              <a:cs typeface="Meiryo"/>
              <a:sym typeface="Meiryo"/>
            </a:endParaRPr>
          </a:p>
          <a:p>
            <a:pPr marL="12700" marR="4344" lvl="0" algn="l" rtl="0">
              <a:spcBef>
                <a:spcPts val="0"/>
              </a:spcBef>
              <a:spcAft>
                <a:spcPts val="0"/>
              </a:spcAft>
              <a:buNone/>
              <a:tabLst>
                <a:tab pos="350838" algn="l"/>
              </a:tabLst>
            </a:pPr>
            <a:r>
              <a:rPr lang="en-US" altLang="ja-JP" sz="1600" b="1" dirty="0">
                <a:solidFill>
                  <a:schemeClr val="dk1"/>
                </a:solidFill>
                <a:latin typeface="Meiryo"/>
                <a:ea typeface="Meiryo"/>
                <a:cs typeface="Meiryo"/>
                <a:sym typeface="Meiryo"/>
              </a:rPr>
              <a:t>	</a:t>
            </a:r>
            <a:r>
              <a:rPr lang="ja-JP" altLang="en-US" sz="1600" b="1" dirty="0">
                <a:solidFill>
                  <a:schemeClr val="dk1"/>
                </a:solidFill>
                <a:latin typeface="Meiryo"/>
                <a:ea typeface="Meiryo"/>
                <a:cs typeface="Meiryo"/>
                <a:sym typeface="Meiryo"/>
              </a:rPr>
              <a:t>場合があります。</a:t>
            </a:r>
            <a:endParaRPr lang="en-US" altLang="ja-JP" sz="1600" b="1" dirty="0">
              <a:solidFill>
                <a:schemeClr val="dk1"/>
              </a:solidFill>
              <a:latin typeface="Meiryo"/>
              <a:ea typeface="Meiryo"/>
              <a:cs typeface="Meiryo"/>
              <a:sym typeface="Meiryo"/>
            </a:endParaRPr>
          </a:p>
          <a:p>
            <a:pPr marL="12700" marR="4344" lvl="0" algn="l" rtl="0">
              <a:spcBef>
                <a:spcPts val="0"/>
              </a:spcBef>
              <a:spcAft>
                <a:spcPts val="0"/>
              </a:spcAft>
              <a:buNone/>
              <a:tabLst>
                <a:tab pos="350838" algn="l"/>
              </a:tabLst>
            </a:pPr>
            <a:r>
              <a:rPr lang="en-US" altLang="ja-JP" sz="1600" b="1" dirty="0">
                <a:solidFill>
                  <a:schemeClr val="dk1"/>
                </a:solidFill>
                <a:latin typeface="Meiryo"/>
                <a:ea typeface="Meiryo"/>
                <a:cs typeface="Meiryo"/>
                <a:sym typeface="Meiryo"/>
              </a:rPr>
              <a:t>	</a:t>
            </a:r>
            <a:r>
              <a:rPr lang="ja-JP" altLang="en-US" sz="1600" b="1" dirty="0">
                <a:solidFill>
                  <a:schemeClr val="dk1"/>
                </a:solidFill>
                <a:latin typeface="Meiryo"/>
                <a:ea typeface="Meiryo"/>
                <a:cs typeface="Meiryo"/>
                <a:sym typeface="Meiryo"/>
              </a:rPr>
              <a:t>診察時間までに</a:t>
            </a:r>
            <a:endParaRPr lang="en-US" altLang="ja-JP" sz="1600" b="1" dirty="0">
              <a:solidFill>
                <a:schemeClr val="dk1"/>
              </a:solidFill>
              <a:latin typeface="Meiryo"/>
              <a:ea typeface="Meiryo"/>
              <a:cs typeface="Meiryo"/>
              <a:sym typeface="Meiryo"/>
            </a:endParaRPr>
          </a:p>
          <a:p>
            <a:pPr marL="12700" marR="4344" lvl="0" algn="l" rtl="0">
              <a:spcBef>
                <a:spcPts val="0"/>
              </a:spcBef>
              <a:spcAft>
                <a:spcPts val="0"/>
              </a:spcAft>
              <a:buNone/>
              <a:tabLst>
                <a:tab pos="350838" algn="l"/>
              </a:tabLst>
            </a:pPr>
            <a:r>
              <a:rPr lang="en-US" altLang="ja-JP" sz="1600" b="1" dirty="0">
                <a:solidFill>
                  <a:schemeClr val="dk1"/>
                </a:solidFill>
                <a:latin typeface="Meiryo"/>
                <a:ea typeface="Meiryo"/>
                <a:cs typeface="Meiryo"/>
                <a:sym typeface="Meiryo"/>
              </a:rPr>
              <a:t>	</a:t>
            </a:r>
            <a:r>
              <a:rPr lang="ja-JP" altLang="en-US" sz="1600" b="1" dirty="0">
                <a:solidFill>
                  <a:schemeClr val="dk1"/>
                </a:solidFill>
                <a:latin typeface="Meiryo"/>
                <a:ea typeface="Meiryo"/>
                <a:cs typeface="Meiryo"/>
                <a:sym typeface="Meiryo"/>
              </a:rPr>
              <a:t>問診票をご回答の上</a:t>
            </a:r>
            <a:endParaRPr lang="en-US" altLang="ja-JP" sz="1600" b="1" dirty="0">
              <a:solidFill>
                <a:schemeClr val="dk1"/>
              </a:solidFill>
              <a:latin typeface="Meiryo"/>
              <a:ea typeface="Meiryo"/>
              <a:cs typeface="Meiryo"/>
              <a:sym typeface="Meiryo"/>
            </a:endParaRPr>
          </a:p>
          <a:p>
            <a:pPr marL="12700" marR="4344" lvl="0" algn="l" rtl="0">
              <a:spcBef>
                <a:spcPts val="0"/>
              </a:spcBef>
              <a:spcAft>
                <a:spcPts val="0"/>
              </a:spcAft>
              <a:buNone/>
              <a:tabLst>
                <a:tab pos="350838" algn="l"/>
              </a:tabLst>
            </a:pPr>
            <a:r>
              <a:rPr lang="en-US" altLang="ja-JP" sz="1600" b="1" dirty="0">
                <a:solidFill>
                  <a:schemeClr val="dk1"/>
                </a:solidFill>
                <a:latin typeface="Meiryo"/>
                <a:ea typeface="Meiryo"/>
                <a:cs typeface="Meiryo"/>
                <a:sym typeface="Meiryo"/>
              </a:rPr>
              <a:t>	</a:t>
            </a:r>
            <a:r>
              <a:rPr lang="ja-JP" altLang="en-US" sz="1600" b="1" dirty="0">
                <a:solidFill>
                  <a:schemeClr val="dk1"/>
                </a:solidFill>
                <a:latin typeface="Meiryo"/>
                <a:ea typeface="Meiryo"/>
                <a:cs typeface="Meiryo"/>
                <a:sym typeface="Meiryo"/>
              </a:rPr>
              <a:t>提出してください。</a:t>
            </a:r>
          </a:p>
          <a:p>
            <a:pPr marL="12700" lvl="0" algn="l" rtl="0">
              <a:spcBef>
                <a:spcPts val="100"/>
              </a:spcBef>
              <a:spcAft>
                <a:spcPts val="0"/>
              </a:spcAft>
              <a:buSzPts val="2400"/>
              <a:buNone/>
              <a:tabLst>
                <a:tab pos="350838" algn="l"/>
              </a:tabLst>
            </a:pPr>
            <a:endParaRPr sz="1800" b="1" dirty="0">
              <a:solidFill>
                <a:schemeClr val="dk1"/>
              </a:solidFill>
              <a:latin typeface="Meiryo"/>
              <a:ea typeface="Meiryo"/>
              <a:cs typeface="Meiryo"/>
              <a:sym typeface="Meiryo"/>
            </a:endParaRPr>
          </a:p>
          <a:p>
            <a:pPr marL="12700" lvl="0" algn="l" rtl="0">
              <a:spcBef>
                <a:spcPts val="100"/>
              </a:spcBef>
              <a:spcAft>
                <a:spcPts val="0"/>
              </a:spcAft>
              <a:buClr>
                <a:schemeClr val="dk1"/>
              </a:buClr>
              <a:buSzPts val="2400"/>
              <a:buFont typeface="Arial"/>
              <a:buNone/>
              <a:tabLst>
                <a:tab pos="350838" algn="l"/>
              </a:tabLst>
            </a:pPr>
            <a:endParaRPr sz="1800" b="1" dirty="0">
              <a:solidFill>
                <a:schemeClr val="dk1"/>
              </a:solidFill>
              <a:latin typeface="Meiryo"/>
              <a:ea typeface="Meiryo"/>
              <a:cs typeface="Meiryo"/>
              <a:sym typeface="Meiryo"/>
            </a:endParaRPr>
          </a:p>
        </p:txBody>
      </p:sp>
      <p:sp>
        <p:nvSpPr>
          <p:cNvPr id="801" name="Google Shape;801;p22"/>
          <p:cNvSpPr/>
          <p:nvPr/>
        </p:nvSpPr>
        <p:spPr>
          <a:xfrm>
            <a:off x="2990582" y="2832997"/>
            <a:ext cx="1584000" cy="72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805" name="Google Shape;805;p22"/>
          <p:cNvSpPr/>
          <p:nvPr/>
        </p:nvSpPr>
        <p:spPr>
          <a:xfrm>
            <a:off x="7090699" y="2372183"/>
            <a:ext cx="1404000" cy="28047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806" name="Google Shape;806;p22"/>
          <p:cNvSpPr/>
          <p:nvPr/>
        </p:nvSpPr>
        <p:spPr>
          <a:xfrm>
            <a:off x="5041957" y="3533597"/>
            <a:ext cx="1584000" cy="54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810" name="Google Shape;810;p22"/>
          <p:cNvSpPr txBox="1"/>
          <p:nvPr/>
        </p:nvSpPr>
        <p:spPr>
          <a:xfrm>
            <a:off x="2929744" y="1623673"/>
            <a:ext cx="1945800" cy="2265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dirty="0">
                <a:solidFill>
                  <a:srgbClr val="009650"/>
                </a:solidFill>
                <a:latin typeface="Meiryo"/>
                <a:ea typeface="Meiryo"/>
                <a:cs typeface="Meiryo"/>
                <a:sym typeface="Meiryo"/>
              </a:rPr>
              <a:t>問診票の回答</a:t>
            </a:r>
            <a:endParaRPr sz="1400" b="1" i="0" u="none" strike="noStrike" cap="none" dirty="0">
              <a:solidFill>
                <a:srgbClr val="009650"/>
              </a:solidFill>
              <a:latin typeface="Meiryo"/>
              <a:ea typeface="Meiryo"/>
              <a:cs typeface="Meiryo"/>
              <a:sym typeface="Meiryo"/>
            </a:endParaRPr>
          </a:p>
        </p:txBody>
      </p:sp>
      <p:sp>
        <p:nvSpPr>
          <p:cNvPr id="815" name="Google Shape;815;p22"/>
          <p:cNvSpPr/>
          <p:nvPr/>
        </p:nvSpPr>
        <p:spPr>
          <a:xfrm>
            <a:off x="7090699" y="5230758"/>
            <a:ext cx="1404000"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6"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lvl="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6</a:t>
            </a:r>
            <a:r>
              <a:rPr lang="en-US" altLang="ja-JP" sz="3200" spc="-1000" dirty="0">
                <a:latin typeface="Meiryo"/>
                <a:ea typeface="Meiryo"/>
                <a:cs typeface="Meiryo"/>
                <a:sym typeface="Meiryo"/>
              </a:rPr>
              <a:t>】</a:t>
            </a:r>
            <a:r>
              <a:rPr lang="ja-JP" altLang="en-US" sz="3200" dirty="0">
                <a:latin typeface="Meiryo"/>
                <a:ea typeface="Meiryo"/>
                <a:cs typeface="Meiryo"/>
                <a:sym typeface="Meiryo"/>
              </a:rPr>
              <a:t>問診票の回答</a:t>
            </a:r>
            <a:endParaRPr kumimoji="0" lang="ja-JP" altLang="en-US" sz="3200" b="0" kern="0" dirty="0"/>
          </a:p>
        </p:txBody>
      </p:sp>
      <p:grpSp>
        <p:nvGrpSpPr>
          <p:cNvPr id="27" name="図形グループ 26"/>
          <p:cNvGrpSpPr/>
          <p:nvPr/>
        </p:nvGrpSpPr>
        <p:grpSpPr>
          <a:xfrm>
            <a:off x="6949712" y="5404871"/>
            <a:ext cx="296586" cy="293005"/>
            <a:chOff x="5101121" y="3995693"/>
            <a:chExt cx="296586" cy="293005"/>
          </a:xfrm>
        </p:grpSpPr>
        <p:sp>
          <p:nvSpPr>
            <p:cNvPr id="28" name="円/楕円 27"/>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2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0" name="図形グループ 29"/>
          <p:cNvGrpSpPr/>
          <p:nvPr/>
        </p:nvGrpSpPr>
        <p:grpSpPr>
          <a:xfrm>
            <a:off x="6949712" y="2227705"/>
            <a:ext cx="296586" cy="293005"/>
            <a:chOff x="4232441" y="3995693"/>
            <a:chExt cx="296586" cy="293005"/>
          </a:xfrm>
        </p:grpSpPr>
        <p:sp>
          <p:nvSpPr>
            <p:cNvPr id="31" name="円/楕円 3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フリーフォーム 3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3" name="図形グループ 32"/>
          <p:cNvGrpSpPr/>
          <p:nvPr/>
        </p:nvGrpSpPr>
        <p:grpSpPr>
          <a:xfrm>
            <a:off x="4892313" y="3390072"/>
            <a:ext cx="296586" cy="293005"/>
            <a:chOff x="3546641" y="3995693"/>
            <a:chExt cx="296586" cy="293005"/>
          </a:xfrm>
        </p:grpSpPr>
        <p:sp>
          <p:nvSpPr>
            <p:cNvPr id="34" name="円/楕円 3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フリーフォーム 34"/>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6" name="図形グループ 35"/>
          <p:cNvGrpSpPr/>
          <p:nvPr/>
        </p:nvGrpSpPr>
        <p:grpSpPr>
          <a:xfrm>
            <a:off x="2844665" y="2686683"/>
            <a:ext cx="296587" cy="293005"/>
            <a:chOff x="2897417" y="3995693"/>
            <a:chExt cx="296587" cy="293005"/>
          </a:xfrm>
        </p:grpSpPr>
        <p:sp>
          <p:nvSpPr>
            <p:cNvPr id="37" name="円/楕円 3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9" name="図形グループ 38"/>
          <p:cNvGrpSpPr>
            <a:grpSpLocks noChangeAspect="1"/>
          </p:cNvGrpSpPr>
          <p:nvPr/>
        </p:nvGrpSpPr>
        <p:grpSpPr>
          <a:xfrm>
            <a:off x="4534916" y="2583679"/>
            <a:ext cx="360000" cy="270000"/>
            <a:chOff x="3355262" y="5469690"/>
            <a:chExt cx="720000" cy="540000"/>
          </a:xfrm>
        </p:grpSpPr>
        <p:cxnSp>
          <p:nvCxnSpPr>
            <p:cNvPr id="40" name="カギ線コネクタ 39"/>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42" name="図形グループ 41"/>
          <p:cNvGrpSpPr>
            <a:grpSpLocks noChangeAspect="1"/>
          </p:cNvGrpSpPr>
          <p:nvPr/>
        </p:nvGrpSpPr>
        <p:grpSpPr>
          <a:xfrm>
            <a:off x="6584524" y="2583679"/>
            <a:ext cx="360000" cy="270000"/>
            <a:chOff x="3355262" y="5469690"/>
            <a:chExt cx="720000" cy="540000"/>
          </a:xfrm>
        </p:grpSpPr>
        <p:cxnSp>
          <p:nvCxnSpPr>
            <p:cNvPr id="43" name="カギ線コネクタ 4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823"/>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A483E03F-CC98-41F1-BEF5-1BD79855D3FD}"/>
              </a:ext>
            </a:extLst>
          </p:cNvPr>
          <p:cNvGraphicFramePr>
            <a:graphicFrameLocks noChangeAspect="1"/>
          </p:cNvGraphicFramePr>
          <p:nvPr>
            <p:custDataLst>
              <p:tags r:id="rId2"/>
            </p:custDataLst>
            <p:extLst>
              <p:ext uri="{D42A27DB-BD31-4B8C-83A1-F6EECF244321}">
                <p14:modId xmlns:p14="http://schemas.microsoft.com/office/powerpoint/2010/main" val="3879975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8"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24" name="Google Shape;824;p23" descr="オンライン待合室画面で右下に自分の映像が映っている画像"/>
          <p:cNvPicPr preferRelativeResize="0">
            <a:picLocks noChangeAspect="1"/>
          </p:cNvPicPr>
          <p:nvPr/>
        </p:nvPicPr>
        <p:blipFill>
          <a:blip r:embed="rId7">
            <a:alphaModFix/>
          </a:blip>
          <a:stretch>
            <a:fillRect/>
          </a:stretch>
        </p:blipFill>
        <p:spPr>
          <a:xfrm>
            <a:off x="6917193" y="1987732"/>
            <a:ext cx="1620000" cy="3507814"/>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825" name="Google Shape;825;p23" descr="音声と映像を確認という画面で「ビデオ診察ルームに入室」をタップしている画像"/>
          <p:cNvPicPr preferRelativeResize="0">
            <a:picLocks noChangeAspect="1"/>
          </p:cNvPicPr>
          <p:nvPr/>
        </p:nvPicPr>
        <p:blipFill>
          <a:blip r:embed="rId8">
            <a:alphaModFix/>
          </a:blip>
          <a:stretch>
            <a:fillRect/>
          </a:stretch>
        </p:blipFill>
        <p:spPr>
          <a:xfrm>
            <a:off x="4759819" y="1987732"/>
            <a:ext cx="1620000" cy="3507845"/>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826" name="Google Shape;826;p23"/>
          <p:cNvSpPr/>
          <p:nvPr/>
        </p:nvSpPr>
        <p:spPr>
          <a:xfrm>
            <a:off x="4798543" y="4321463"/>
            <a:ext cx="1548000"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pic>
        <p:nvPicPr>
          <p:cNvPr id="827" name="Google Shape;827;p23" descr="診察詳細画面で「ビデオ診察画面へ」をタップしている画像"/>
          <p:cNvPicPr preferRelativeResize="0">
            <a:picLocks noChangeAspect="1"/>
          </p:cNvPicPr>
          <p:nvPr/>
        </p:nvPicPr>
        <p:blipFill>
          <a:blip r:embed="rId9">
            <a:alphaModFix/>
          </a:blip>
          <a:stretch>
            <a:fillRect/>
          </a:stretch>
        </p:blipFill>
        <p:spPr>
          <a:xfrm>
            <a:off x="2602416" y="1987732"/>
            <a:ext cx="1620000" cy="3498494"/>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829" name="Google Shape;829;p23"/>
          <p:cNvSpPr txBox="1"/>
          <p:nvPr/>
        </p:nvSpPr>
        <p:spPr>
          <a:xfrm>
            <a:off x="323800" y="1905000"/>
            <a:ext cx="2448000" cy="3792690"/>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None/>
              <a:tabLst>
                <a:tab pos="350838" algn="l"/>
              </a:tabLst>
            </a:pPr>
            <a:r>
              <a:rPr lang="ja-JP" sz="2400" b="1" dirty="0">
                <a:solidFill>
                  <a:srgbClr val="009650"/>
                </a:solidFill>
                <a:latin typeface="Meiryo"/>
                <a:ea typeface="Meiryo"/>
                <a:cs typeface="Meiryo"/>
                <a:sym typeface="Meiryo"/>
              </a:rPr>
              <a:t>❶</a:t>
            </a:r>
            <a:r>
              <a:rPr lang="en-US" altLang="ja-JP" sz="2400" b="1"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予約時間に</a:t>
            </a:r>
            <a:endParaRPr lang="en-US" altLang="ja-JP" sz="1800" b="1" dirty="0">
              <a:solidFill>
                <a:schemeClr val="dk1"/>
              </a:solidFill>
              <a:latin typeface="Meiryo"/>
              <a:ea typeface="Meiryo"/>
              <a:cs typeface="Meiryo"/>
              <a:sym typeface="Meiryo"/>
            </a:endParaRPr>
          </a:p>
          <a:p>
            <a:pPr marL="9525" marR="4344" lvl="0" algn="l" rtl="0">
              <a:spcBef>
                <a:spcPts val="0"/>
              </a:spcBef>
              <a:spcAft>
                <a:spcPts val="0"/>
              </a:spcAft>
              <a:buNone/>
              <a:tabLst>
                <a:tab pos="350838"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なったら</a:t>
            </a:r>
            <a:endParaRPr lang="en-US" altLang="ja-JP" sz="1800" b="1" dirty="0">
              <a:solidFill>
                <a:schemeClr val="dk1"/>
              </a:solidFill>
              <a:latin typeface="Meiryo"/>
              <a:ea typeface="Meiryo"/>
              <a:cs typeface="Meiryo"/>
              <a:sym typeface="Meiryo"/>
            </a:endParaRPr>
          </a:p>
          <a:p>
            <a:pPr marL="9525" marR="4344" lvl="0" algn="l" rtl="0">
              <a:spcBef>
                <a:spcPts val="0"/>
              </a:spcBef>
              <a:spcAft>
                <a:spcPts val="0"/>
              </a:spcAft>
              <a:buNone/>
              <a:tabLst>
                <a:tab pos="350838"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アプリを起動</a:t>
            </a:r>
            <a:r>
              <a:rPr lang="ja-JP" sz="1800" b="1">
                <a:solidFill>
                  <a:schemeClr val="dk1"/>
                </a:solidFill>
                <a:latin typeface="Meiryo"/>
                <a:ea typeface="Meiryo"/>
                <a:cs typeface="Meiryo"/>
                <a:sym typeface="Meiryo"/>
              </a:rPr>
              <a:t>し</a:t>
            </a:r>
            <a:r>
              <a:rPr lang="ja-JP" altLang="en-US" sz="1800" b="1">
                <a:solidFill>
                  <a:schemeClr val="dk1"/>
                </a:solidFill>
                <a:latin typeface="Meiryo"/>
                <a:ea typeface="Meiryo"/>
                <a:cs typeface="Meiryo"/>
                <a:sym typeface="Meiryo"/>
              </a:rPr>
              <a:t>、</a:t>
            </a:r>
            <a:r>
              <a:rPr lang="en-US" altLang="ja-JP" sz="1800" b="1">
                <a:solidFill>
                  <a:schemeClr val="dk1"/>
                </a:solidFill>
                <a:latin typeface="Meiryo"/>
                <a:ea typeface="Meiryo"/>
                <a:cs typeface="Meiryo"/>
                <a:sym typeface="Meiryo"/>
              </a:rPr>
              <a:t>	</a:t>
            </a:r>
            <a:r>
              <a:rPr lang="en-US" altLang="ja-JP" sz="1800" b="1">
                <a:solidFill>
                  <a:schemeClr val="tx1"/>
                </a:solidFill>
                <a:latin typeface="Meiryo"/>
                <a:ea typeface="Meiryo"/>
                <a:cs typeface="Meiryo"/>
                <a:sym typeface="Meiryo"/>
              </a:rPr>
              <a:t>｢</a:t>
            </a:r>
            <a:r>
              <a:rPr lang="ja-JP" altLang="en-US" sz="1800" b="1">
                <a:solidFill>
                  <a:schemeClr val="tx1"/>
                </a:solidFill>
                <a:latin typeface="Meiryo"/>
                <a:ea typeface="Meiryo"/>
                <a:cs typeface="Meiryo"/>
                <a:sym typeface="Meiryo"/>
              </a:rPr>
              <a:t>ビデオ</a:t>
            </a:r>
            <a:r>
              <a:rPr lang="ja-JP" altLang="en-US" sz="1800" b="1" dirty="0">
                <a:solidFill>
                  <a:schemeClr val="tx1"/>
                </a:solidFill>
                <a:latin typeface="Meiryo"/>
                <a:ea typeface="Meiryo"/>
                <a:cs typeface="Meiryo"/>
                <a:sym typeface="Meiryo"/>
              </a:rPr>
              <a:t>診察</a:t>
            </a:r>
            <a:endParaRPr lang="en-US" altLang="ja-JP" sz="1800" b="1" dirty="0">
              <a:solidFill>
                <a:schemeClr val="tx1"/>
              </a:solidFill>
              <a:latin typeface="Meiryo"/>
              <a:ea typeface="Meiryo"/>
              <a:cs typeface="Meiryo"/>
              <a:sym typeface="Meiryo"/>
            </a:endParaRPr>
          </a:p>
          <a:p>
            <a:pPr marL="9525" marR="4344" lvl="0" algn="l" rtl="0">
              <a:spcBef>
                <a:spcPts val="0"/>
              </a:spcBef>
              <a:spcAft>
                <a:spcPts val="0"/>
              </a:spcAft>
              <a:buNone/>
              <a:tabLst>
                <a:tab pos="350838" algn="l"/>
              </a:tabLst>
            </a:pPr>
            <a:r>
              <a:rPr lang="en-US" altLang="ja-JP" sz="1800" b="1" dirty="0">
                <a:solidFill>
                  <a:schemeClr val="tx1"/>
                </a:solidFill>
                <a:latin typeface="Meiryo"/>
                <a:ea typeface="Meiryo"/>
                <a:cs typeface="Meiryo"/>
                <a:sym typeface="Meiryo"/>
              </a:rPr>
              <a:t>	</a:t>
            </a:r>
            <a:r>
              <a:rPr lang="ja-JP" altLang="en-US" sz="1800" b="1" dirty="0">
                <a:solidFill>
                  <a:schemeClr val="tx1"/>
                </a:solidFill>
                <a:latin typeface="Meiryo"/>
                <a:ea typeface="Meiryo"/>
                <a:cs typeface="Meiryo"/>
                <a:sym typeface="Meiryo"/>
              </a:rPr>
              <a:t>画面へ</a:t>
            </a:r>
            <a:r>
              <a:rPr lang="en-US" altLang="ja-JP" sz="1800" b="1" dirty="0">
                <a:solidFill>
                  <a:schemeClr val="tx1"/>
                </a:solidFill>
                <a:latin typeface="Meiryo"/>
                <a:ea typeface="Meiryo"/>
                <a:cs typeface="Meiryo"/>
                <a:sym typeface="Meiryo"/>
              </a:rPr>
              <a:t>｣</a:t>
            </a:r>
            <a:r>
              <a:rPr lang="ja-JP" sz="1800" b="1" dirty="0">
                <a:solidFill>
                  <a:schemeClr val="dk1"/>
                </a:solidFill>
                <a:latin typeface="Meiryo"/>
                <a:ea typeface="Meiryo"/>
                <a:cs typeface="Meiryo"/>
                <a:sym typeface="Meiryo"/>
              </a:rPr>
              <a:t>をタップ</a:t>
            </a:r>
            <a:endParaRPr dirty="0"/>
          </a:p>
          <a:p>
            <a:pPr marL="9525" marR="0" lvl="0" algn="l" rtl="0">
              <a:spcBef>
                <a:spcPts val="167"/>
              </a:spcBef>
              <a:spcAft>
                <a:spcPts val="0"/>
              </a:spcAft>
              <a:buNone/>
              <a:tabLst>
                <a:tab pos="350838" algn="l"/>
              </a:tabLst>
            </a:pPr>
            <a:r>
              <a:rPr lang="ja-JP" sz="2400" b="1">
                <a:solidFill>
                  <a:srgbClr val="009650"/>
                </a:solidFill>
                <a:latin typeface="Meiryo"/>
                <a:ea typeface="Meiryo"/>
                <a:cs typeface="Meiryo"/>
                <a:sym typeface="Meiryo"/>
              </a:rPr>
              <a:t>❷</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ビデオ</a:t>
            </a:r>
            <a:r>
              <a:rPr lang="ja-JP" sz="1800" b="1" dirty="0">
                <a:solidFill>
                  <a:schemeClr val="dk1"/>
                </a:solidFill>
                <a:latin typeface="Meiryo"/>
                <a:ea typeface="Meiryo"/>
                <a:cs typeface="Meiryo"/>
                <a:sym typeface="Meiryo"/>
              </a:rPr>
              <a:t>診察</a:t>
            </a:r>
            <a:endParaRPr lang="en-US" altLang="ja-JP" sz="1800" b="1" dirty="0">
              <a:solidFill>
                <a:schemeClr val="dk1"/>
              </a:solidFill>
              <a:latin typeface="Meiryo"/>
              <a:ea typeface="Meiryo"/>
              <a:cs typeface="Meiryo"/>
              <a:sym typeface="Meiryo"/>
            </a:endParaRPr>
          </a:p>
          <a:p>
            <a:pPr marL="9525" marR="0" lvl="0" algn="l" rtl="0">
              <a:spcBef>
                <a:spcPts val="167"/>
              </a:spcBef>
              <a:spcAft>
                <a:spcPts val="0"/>
              </a:spcAft>
              <a:buNone/>
              <a:tabLst>
                <a:tab pos="350838"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ルームに入室</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a:t>
            </a:r>
            <a:endParaRPr lang="en-US" altLang="ja-JP" sz="1800" b="1" dirty="0">
              <a:solidFill>
                <a:schemeClr val="dk1"/>
              </a:solidFill>
              <a:latin typeface="Meiryo"/>
              <a:ea typeface="Meiryo"/>
              <a:cs typeface="Meiryo"/>
              <a:sym typeface="Meiryo"/>
            </a:endParaRPr>
          </a:p>
          <a:p>
            <a:pPr marL="9525" marR="0" lvl="0" algn="l" rtl="0">
              <a:spcBef>
                <a:spcPts val="167"/>
              </a:spcBef>
              <a:spcAft>
                <a:spcPts val="0"/>
              </a:spcAft>
              <a:buNone/>
              <a:tabLst>
                <a:tab pos="350838"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タップ</a:t>
            </a:r>
            <a:endParaRPr sz="1800" b="1" dirty="0">
              <a:solidFill>
                <a:schemeClr val="dk1"/>
              </a:solidFill>
              <a:latin typeface="Meiryo"/>
              <a:ea typeface="Meiryo"/>
              <a:cs typeface="Meiryo"/>
              <a:sym typeface="Meiryo"/>
            </a:endParaRPr>
          </a:p>
          <a:p>
            <a:pPr marL="9525" marR="0" lvl="0" algn="l" rtl="0">
              <a:spcBef>
                <a:spcPts val="167"/>
              </a:spcBef>
              <a:spcAft>
                <a:spcPts val="0"/>
              </a:spcAft>
              <a:buNone/>
              <a:tabLst>
                <a:tab pos="350838" algn="l"/>
              </a:tabLst>
            </a:pPr>
            <a:r>
              <a:rPr lang="ja-JP" sz="2400" b="1" dirty="0">
                <a:solidFill>
                  <a:srgbClr val="009650"/>
                </a:solidFill>
                <a:latin typeface="Meiryo"/>
                <a:ea typeface="Meiryo"/>
                <a:cs typeface="Meiryo"/>
                <a:sym typeface="Meiryo"/>
              </a:rPr>
              <a:t>❸</a:t>
            </a:r>
            <a:r>
              <a:rPr lang="ja-JP" sz="1800" b="1" dirty="0">
                <a:solidFill>
                  <a:schemeClr val="dk1"/>
                </a:solidFill>
                <a:latin typeface="Meiryo"/>
                <a:ea typeface="Meiryo"/>
                <a:cs typeface="Meiryo"/>
                <a:sym typeface="Meiryo"/>
              </a:rPr>
              <a:t>医師が入室</a:t>
            </a:r>
            <a:endParaRPr lang="en-US" altLang="ja-JP" sz="1800" b="1" dirty="0">
              <a:solidFill>
                <a:schemeClr val="dk1"/>
              </a:solidFill>
              <a:latin typeface="Meiryo"/>
              <a:ea typeface="Meiryo"/>
              <a:cs typeface="Meiryo"/>
              <a:sym typeface="Meiryo"/>
            </a:endParaRPr>
          </a:p>
          <a:p>
            <a:pPr marL="9525" marR="0" lvl="0" algn="l" rtl="0">
              <a:spcBef>
                <a:spcPts val="167"/>
              </a:spcBef>
              <a:spcAft>
                <a:spcPts val="0"/>
              </a:spcAft>
              <a:buNone/>
              <a:tabLst>
                <a:tab pos="350838"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していない場合は</a:t>
            </a:r>
            <a:endParaRPr lang="en-US" altLang="ja-JP" sz="1800" b="1" dirty="0">
              <a:solidFill>
                <a:schemeClr val="dk1"/>
              </a:solidFill>
              <a:latin typeface="Meiryo"/>
              <a:ea typeface="Meiryo"/>
              <a:cs typeface="Meiryo"/>
              <a:sym typeface="Meiryo"/>
            </a:endParaRPr>
          </a:p>
          <a:p>
            <a:pPr marL="9525" marR="0" lvl="0" algn="l" rtl="0">
              <a:spcBef>
                <a:spcPts val="167"/>
              </a:spcBef>
              <a:spcAft>
                <a:spcPts val="0"/>
              </a:spcAft>
              <a:buNone/>
              <a:tabLst>
                <a:tab pos="350838"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しばらく待ちま</a:t>
            </a:r>
            <a:r>
              <a:rPr lang="ja-JP" altLang="en-US" sz="1800" b="1" dirty="0">
                <a:solidFill>
                  <a:schemeClr val="dk1"/>
                </a:solidFill>
                <a:latin typeface="Meiryo"/>
                <a:ea typeface="Meiryo"/>
                <a:cs typeface="Meiryo"/>
                <a:sym typeface="Meiryo"/>
              </a:rPr>
              <a:t>す</a:t>
            </a:r>
            <a:endParaRPr sz="1400" dirty="0">
              <a:solidFill>
                <a:schemeClr val="dk1"/>
              </a:solidFill>
              <a:latin typeface="Calibri"/>
              <a:ea typeface="Calibri"/>
              <a:cs typeface="Calibri"/>
              <a:sym typeface="Calibri"/>
            </a:endParaRPr>
          </a:p>
          <a:p>
            <a:pPr marL="9525" marR="0" lvl="0" algn="l" rtl="0">
              <a:spcBef>
                <a:spcPts val="167"/>
              </a:spcBef>
              <a:spcAft>
                <a:spcPts val="0"/>
              </a:spcAft>
              <a:buClr>
                <a:srgbClr val="000000"/>
              </a:buClr>
              <a:buSzPts val="1800"/>
              <a:buFont typeface="Arial"/>
              <a:buNone/>
              <a:tabLst>
                <a:tab pos="350838" algn="l"/>
              </a:tabLst>
            </a:pPr>
            <a:endParaRPr sz="1800" b="0" i="0" u="none" strike="noStrike" cap="none" dirty="0">
              <a:solidFill>
                <a:schemeClr val="dk1"/>
              </a:solidFill>
              <a:latin typeface="Meiryo"/>
              <a:ea typeface="Meiryo"/>
              <a:cs typeface="Meiryo"/>
              <a:sym typeface="Meiryo"/>
            </a:endParaRPr>
          </a:p>
        </p:txBody>
      </p:sp>
      <p:sp>
        <p:nvSpPr>
          <p:cNvPr id="830" name="Google Shape;830;p23"/>
          <p:cNvSpPr/>
          <p:nvPr/>
        </p:nvSpPr>
        <p:spPr>
          <a:xfrm>
            <a:off x="2633401" y="3505706"/>
            <a:ext cx="1548000" cy="50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848" name="Google Shape;848;p23"/>
          <p:cNvSpPr txBox="1"/>
          <p:nvPr/>
        </p:nvSpPr>
        <p:spPr>
          <a:xfrm>
            <a:off x="2496626" y="5505052"/>
            <a:ext cx="5400000" cy="73862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sz="1400" b="1" dirty="0">
                <a:solidFill>
                  <a:srgbClr val="009650"/>
                </a:solidFill>
                <a:latin typeface="Meiryo"/>
                <a:ea typeface="Meiryo"/>
                <a:cs typeface="Meiryo"/>
                <a:sym typeface="Meiryo"/>
              </a:rPr>
              <a:t>お薬をどのように受け取るかを医師と確認しましょう。</a:t>
            </a:r>
            <a:endParaRPr sz="1400" b="1" dirty="0">
              <a:solidFill>
                <a:srgbClr val="009650"/>
              </a:solidFill>
              <a:latin typeface="Meiryo"/>
              <a:ea typeface="Meiryo"/>
              <a:cs typeface="Meiryo"/>
              <a:sym typeface="Meiryo"/>
            </a:endParaRPr>
          </a:p>
          <a:p>
            <a:r>
              <a:rPr lang="en-US" altLang="ja-JP" sz="1400" b="1" dirty="0">
                <a:solidFill>
                  <a:srgbClr val="009650"/>
                </a:solidFill>
                <a:latin typeface="Meiryo"/>
                <a:ea typeface="Meiryo"/>
                <a:cs typeface="Meiryo"/>
                <a:sym typeface="Meiryo"/>
              </a:rPr>
              <a:t>A.</a:t>
            </a:r>
            <a:r>
              <a:rPr lang="ja-JP" altLang="en-US" sz="1400" b="1" dirty="0">
                <a:solidFill>
                  <a:srgbClr val="009650"/>
                </a:solidFill>
                <a:latin typeface="Meiryo"/>
                <a:ea typeface="Meiryo"/>
                <a:cs typeface="Meiryo"/>
                <a:sym typeface="Meiryo"/>
              </a:rPr>
              <a:t>お薬・処方箋がご自宅に</a:t>
            </a:r>
            <a:r>
              <a:rPr lang="ja-JP" sz="1400" b="1" dirty="0">
                <a:solidFill>
                  <a:srgbClr val="009650"/>
                </a:solidFill>
                <a:latin typeface="Meiryo"/>
                <a:ea typeface="Meiryo"/>
                <a:cs typeface="Meiryo"/>
                <a:sym typeface="Meiryo"/>
              </a:rPr>
              <a:t>届く</a:t>
            </a:r>
            <a:endParaRPr lang="ja-JP" altLang="en-US" sz="1400" b="1" strike="sngStrike" dirty="0">
              <a:solidFill>
                <a:srgbClr val="009650"/>
              </a:solidFill>
              <a:latin typeface="Meiryo"/>
              <a:ea typeface="Meiryo"/>
              <a:cs typeface="Meiryo"/>
              <a:sym typeface="Meiryo"/>
            </a:endParaRPr>
          </a:p>
          <a:p>
            <a:r>
              <a:rPr lang="en-US" altLang="ja-JP" sz="1400" b="1" dirty="0">
                <a:solidFill>
                  <a:srgbClr val="009650"/>
                </a:solidFill>
                <a:latin typeface="Meiryo"/>
                <a:ea typeface="Meiryo"/>
                <a:cs typeface="Meiryo"/>
                <a:sym typeface="Meiryo"/>
              </a:rPr>
              <a:t>B.</a:t>
            </a:r>
            <a:r>
              <a:rPr lang="ja-JP" altLang="en-US" b="1" dirty="0">
                <a:solidFill>
                  <a:srgbClr val="009650"/>
                </a:solidFill>
                <a:latin typeface="Meiryo"/>
                <a:ea typeface="Meiryo"/>
                <a:cs typeface="Meiryo"/>
                <a:sym typeface="Meiryo"/>
              </a:rPr>
              <a:t>処方箋が薬局に届く</a:t>
            </a:r>
            <a:endParaRPr lang="ja-JP" altLang="en-US" sz="1400" b="1" strike="sngStrike" dirty="0">
              <a:solidFill>
                <a:srgbClr val="009650"/>
              </a:solidFill>
              <a:latin typeface="Meiryo"/>
              <a:ea typeface="Meiryo"/>
              <a:cs typeface="Meiryo"/>
              <a:sym typeface="Meiryo"/>
            </a:endParaRP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31"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7</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ビデオ診</a:t>
            </a:r>
            <a:r>
              <a:rPr lang="ja-JP" altLang="ja-JP" sz="3200" spc="-1250" dirty="0">
                <a:latin typeface="Meiryo"/>
                <a:ea typeface="Meiryo"/>
                <a:cs typeface="Meiryo"/>
                <a:sym typeface="Meiryo"/>
              </a:rPr>
              <a:t>察</a:t>
            </a:r>
            <a:r>
              <a:rPr lang="ja-JP" altLang="en-US" sz="3200" b="0" dirty="0">
                <a:sym typeface="Meiryo"/>
              </a:rPr>
              <a:t>［</a:t>
            </a:r>
            <a:r>
              <a:rPr lang="en-US" altLang="ja-JP" sz="3200" dirty="0">
                <a:latin typeface="Meiryo"/>
                <a:ea typeface="Meiryo"/>
                <a:cs typeface="Meiryo"/>
                <a:sym typeface="Meiryo"/>
              </a:rPr>
              <a:t>1</a:t>
            </a:r>
            <a:r>
              <a:rPr lang="ja-JP" altLang="en-US" sz="3200" b="0" dirty="0">
                <a:sym typeface="Meiryo"/>
              </a:rPr>
              <a:t>］</a:t>
            </a:r>
            <a:endParaRPr kumimoji="0" lang="ja-JP" altLang="en-US" sz="3200" b="0" kern="0" dirty="0"/>
          </a:p>
        </p:txBody>
      </p:sp>
      <p:grpSp>
        <p:nvGrpSpPr>
          <p:cNvPr id="30" name="図形グループ 29"/>
          <p:cNvGrpSpPr>
            <a:grpSpLocks noChangeAspect="1"/>
          </p:cNvGrpSpPr>
          <p:nvPr/>
        </p:nvGrpSpPr>
        <p:grpSpPr>
          <a:xfrm>
            <a:off x="4310195" y="3304349"/>
            <a:ext cx="360000" cy="270000"/>
            <a:chOff x="3355262" y="5469690"/>
            <a:chExt cx="720000" cy="540000"/>
          </a:xfrm>
        </p:grpSpPr>
        <p:cxnSp>
          <p:nvCxnSpPr>
            <p:cNvPr id="32" name="カギ線コネクタ 31"/>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4" name="図形グループ 33"/>
          <p:cNvGrpSpPr>
            <a:grpSpLocks noChangeAspect="1"/>
          </p:cNvGrpSpPr>
          <p:nvPr/>
        </p:nvGrpSpPr>
        <p:grpSpPr>
          <a:xfrm>
            <a:off x="6476038" y="3304349"/>
            <a:ext cx="360000" cy="270000"/>
            <a:chOff x="3355262" y="5469690"/>
            <a:chExt cx="720000" cy="540000"/>
          </a:xfrm>
        </p:grpSpPr>
        <p:cxnSp>
          <p:nvCxnSpPr>
            <p:cNvPr id="35" name="カギ線コネクタ 34"/>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7" name="図形グループ 36"/>
          <p:cNvGrpSpPr/>
          <p:nvPr/>
        </p:nvGrpSpPr>
        <p:grpSpPr>
          <a:xfrm>
            <a:off x="6764639" y="1835455"/>
            <a:ext cx="296586" cy="293005"/>
            <a:chOff x="4232441" y="3995693"/>
            <a:chExt cx="296586" cy="293005"/>
          </a:xfrm>
        </p:grpSpPr>
        <p:sp>
          <p:nvSpPr>
            <p:cNvPr id="38" name="円/楕円 37"/>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0" name="図形グループ 39"/>
          <p:cNvGrpSpPr/>
          <p:nvPr/>
        </p:nvGrpSpPr>
        <p:grpSpPr>
          <a:xfrm>
            <a:off x="4654773" y="4173921"/>
            <a:ext cx="296586" cy="293005"/>
            <a:chOff x="3546641" y="3995693"/>
            <a:chExt cx="296586" cy="293005"/>
          </a:xfrm>
        </p:grpSpPr>
        <p:sp>
          <p:nvSpPr>
            <p:cNvPr id="41" name="円/楕円 40"/>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3" name="図形グループ 42"/>
          <p:cNvGrpSpPr/>
          <p:nvPr/>
        </p:nvGrpSpPr>
        <p:grpSpPr>
          <a:xfrm>
            <a:off x="2478964" y="3352513"/>
            <a:ext cx="296587" cy="293005"/>
            <a:chOff x="2897417" y="3995693"/>
            <a:chExt cx="296587" cy="293005"/>
          </a:xfrm>
        </p:grpSpPr>
        <p:sp>
          <p:nvSpPr>
            <p:cNvPr id="44" name="円/楕円 4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テキスト ボックス 4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854"/>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850ED46-C185-4FDA-BFAE-50300B073E17}"/>
              </a:ext>
            </a:extLst>
          </p:cNvPr>
          <p:cNvGraphicFramePr>
            <a:graphicFrameLocks noChangeAspect="1"/>
          </p:cNvGraphicFramePr>
          <p:nvPr>
            <p:custDataLst>
              <p:tags r:id="rId2"/>
            </p:custDataLst>
            <p:extLst>
              <p:ext uri="{D42A27DB-BD31-4B8C-83A1-F6EECF244321}">
                <p14:modId xmlns:p14="http://schemas.microsoft.com/office/powerpoint/2010/main" val="2552035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52"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55" name="Google Shape;855;g143eb037c4f_6_0" descr="診察が完了し「診察お疲れさまでした」と表示されている画像"/>
          <p:cNvPicPr preferRelativeResize="0">
            <a:picLocks noChangeAspect="1"/>
          </p:cNvPicPr>
          <p:nvPr/>
        </p:nvPicPr>
        <p:blipFill>
          <a:blip r:embed="rId7">
            <a:alphaModFix/>
          </a:blip>
          <a:stretch>
            <a:fillRect/>
          </a:stretch>
        </p:blipFill>
        <p:spPr>
          <a:xfrm>
            <a:off x="6201957" y="1992578"/>
            <a:ext cx="1911960" cy="4140000"/>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856" name="Google Shape;856;g143eb037c4f_6_0" descr="診察画面で医師の映像が映っており、右下に自分の映像が映っている画像"/>
          <p:cNvPicPr preferRelativeResize="0">
            <a:picLocks noChangeAspect="1"/>
          </p:cNvPicPr>
          <p:nvPr/>
        </p:nvPicPr>
        <p:blipFill>
          <a:blip r:embed="rId8">
            <a:alphaModFix/>
          </a:blip>
          <a:stretch>
            <a:fillRect/>
          </a:stretch>
        </p:blipFill>
        <p:spPr>
          <a:xfrm>
            <a:off x="2963754" y="1996807"/>
            <a:ext cx="1917066"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858" name="Google Shape;858;g143eb037c4f_6_0"/>
          <p:cNvSpPr txBox="1"/>
          <p:nvPr/>
        </p:nvSpPr>
        <p:spPr>
          <a:xfrm>
            <a:off x="323791" y="1905000"/>
            <a:ext cx="2247300" cy="2102483"/>
          </a:xfrm>
          <a:prstGeom prst="rect">
            <a:avLst/>
          </a:prstGeom>
          <a:noFill/>
          <a:ln>
            <a:noFill/>
          </a:ln>
        </p:spPr>
        <p:txBody>
          <a:bodyPr spcFirstLastPara="1" wrap="square" lIns="0" tIns="12050" rIns="0" bIns="0" anchor="t" anchorCtr="0">
            <a:spAutoFit/>
          </a:bodyPr>
          <a:lstStyle/>
          <a:p>
            <a:pPr marR="4343" lvl="0" algn="l" rtl="0">
              <a:spcBef>
                <a:spcPts val="0"/>
              </a:spcBef>
              <a:spcAft>
                <a:spcPts val="0"/>
              </a:spcAft>
              <a:buNone/>
              <a:tabLst>
                <a:tab pos="350838" algn="l"/>
              </a:tabLst>
            </a:pPr>
            <a:r>
              <a:rPr lang="ja-JP" altLang="ja-JP" sz="2400" b="1" i="0" u="none" strike="noStrike" cap="none">
                <a:solidFill>
                  <a:srgbClr val="009650"/>
                </a:solidFill>
                <a:latin typeface="Meiryo"/>
                <a:ea typeface="Meiryo"/>
                <a:cs typeface="Meiryo"/>
                <a:sym typeface="Meiryo"/>
              </a:rPr>
              <a:t>❹</a:t>
            </a:r>
            <a:r>
              <a:rPr lang="en-US" altLang="ja-JP" sz="2400" b="1" i="0" u="none" strike="noStrike" cap="none">
                <a:solidFill>
                  <a:srgbClr val="009650"/>
                </a:solidFill>
                <a:latin typeface="Meiryo"/>
                <a:ea typeface="Meiryo"/>
                <a:cs typeface="Meiryo"/>
                <a:sym typeface="Meiryo"/>
              </a:rPr>
              <a:t>	</a:t>
            </a:r>
            <a:r>
              <a:rPr lang="en-US" altLang="ja-JP" sz="1800" b="1">
                <a:solidFill>
                  <a:schemeClr val="tx1"/>
                </a:solidFill>
                <a:latin typeface="Meiryo"/>
                <a:ea typeface="Meiryo"/>
                <a:cs typeface="Meiryo"/>
                <a:sym typeface="Meiryo"/>
              </a:rPr>
              <a:t>｢</a:t>
            </a:r>
            <a:r>
              <a:rPr lang="ja-JP" altLang="en-US" sz="1800" b="1">
                <a:solidFill>
                  <a:schemeClr val="tx1"/>
                </a:solidFill>
                <a:latin typeface="Meiryo"/>
                <a:ea typeface="Meiryo"/>
                <a:cs typeface="Meiryo"/>
                <a:sym typeface="Meiryo"/>
              </a:rPr>
              <a:t>退室</a:t>
            </a:r>
            <a:r>
              <a:rPr lang="ja-JP" altLang="en-US" sz="1800" b="1" dirty="0">
                <a:solidFill>
                  <a:schemeClr val="tx1"/>
                </a:solidFill>
                <a:latin typeface="Meiryo"/>
                <a:ea typeface="Meiryo"/>
                <a:cs typeface="Meiryo"/>
                <a:sym typeface="Meiryo"/>
              </a:rPr>
              <a:t>する</a:t>
            </a:r>
            <a:r>
              <a:rPr lang="en-US" altLang="ja-JP" sz="1800" b="1" dirty="0">
                <a:solidFill>
                  <a:schemeClr val="tx1"/>
                </a:solidFill>
                <a:latin typeface="Meiryo"/>
                <a:ea typeface="Meiryo"/>
                <a:cs typeface="Meiryo"/>
                <a:sym typeface="Meiryo"/>
              </a:rPr>
              <a:t>｣</a:t>
            </a:r>
            <a:r>
              <a:rPr lang="ja-JP" sz="1800" b="1" dirty="0">
                <a:solidFill>
                  <a:schemeClr val="dk1"/>
                </a:solidFill>
                <a:latin typeface="Meiryo"/>
                <a:ea typeface="Meiryo"/>
                <a:cs typeface="Meiryo"/>
                <a:sym typeface="Meiryo"/>
              </a:rPr>
              <a:t>を</a:t>
            </a:r>
            <a:endParaRPr lang="en-US" altLang="ja-JP" sz="1800" b="1" dirty="0">
              <a:solidFill>
                <a:schemeClr val="dk1"/>
              </a:solidFill>
              <a:latin typeface="Meiryo"/>
              <a:ea typeface="Meiryo"/>
              <a:cs typeface="Meiryo"/>
              <a:sym typeface="Meiryo"/>
            </a:endParaRPr>
          </a:p>
          <a:p>
            <a:pPr marR="4343" lvl="0" algn="l" rtl="0">
              <a:spcBef>
                <a:spcPts val="0"/>
              </a:spcBef>
              <a:spcAft>
                <a:spcPts val="0"/>
              </a:spcAft>
              <a:buNone/>
              <a:tabLst>
                <a:tab pos="350838"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タップして終了</a:t>
            </a:r>
            <a:endParaRPr dirty="0">
              <a:solidFill>
                <a:schemeClr val="dk1"/>
              </a:solidFill>
            </a:endParaRPr>
          </a:p>
          <a:p>
            <a:pPr marR="4343" lvl="0" algn="l" rtl="0">
              <a:spcBef>
                <a:spcPts val="85"/>
              </a:spcBef>
              <a:spcAft>
                <a:spcPts val="0"/>
              </a:spcAft>
              <a:buClr>
                <a:schemeClr val="dk1"/>
              </a:buClr>
              <a:buFont typeface="Arial"/>
              <a:buNone/>
              <a:tabLst>
                <a:tab pos="350838" algn="l"/>
              </a:tabLst>
            </a:pPr>
            <a:r>
              <a:rPr lang="en-US" altLang="ja-JP" sz="1600" b="1" dirty="0">
                <a:solidFill>
                  <a:srgbClr val="009650"/>
                </a:solidFill>
                <a:latin typeface="Meiryo"/>
                <a:ea typeface="Meiryo"/>
                <a:cs typeface="Meiryo"/>
                <a:sym typeface="Meiryo"/>
              </a:rPr>
              <a:t>	</a:t>
            </a:r>
            <a:r>
              <a:rPr lang="ja-JP" sz="1600" b="1" dirty="0">
                <a:solidFill>
                  <a:srgbClr val="009650"/>
                </a:solidFill>
                <a:latin typeface="Meiryo"/>
                <a:ea typeface="Meiryo"/>
                <a:cs typeface="Meiryo"/>
                <a:sym typeface="Meiryo"/>
              </a:rPr>
              <a:t>顔と音声が</a:t>
            </a:r>
            <a:endParaRPr lang="en-US" altLang="ja-JP" sz="1600" b="1" dirty="0">
              <a:solidFill>
                <a:srgbClr val="009650"/>
              </a:solidFill>
              <a:latin typeface="Meiryo"/>
              <a:ea typeface="Meiryo"/>
              <a:cs typeface="Meiryo"/>
              <a:sym typeface="Meiryo"/>
            </a:endParaRPr>
          </a:p>
          <a:p>
            <a:pPr marR="4343" lvl="0" algn="l" rtl="0">
              <a:spcBef>
                <a:spcPts val="85"/>
              </a:spcBef>
              <a:spcAft>
                <a:spcPts val="0"/>
              </a:spcAft>
              <a:buClr>
                <a:schemeClr val="dk1"/>
              </a:buClr>
              <a:buFont typeface="Arial"/>
              <a:buNone/>
              <a:tabLst>
                <a:tab pos="350838" algn="l"/>
              </a:tabLst>
            </a:pPr>
            <a:r>
              <a:rPr lang="en-US" altLang="ja-JP" sz="1600" b="1" dirty="0">
                <a:solidFill>
                  <a:srgbClr val="009650"/>
                </a:solidFill>
                <a:latin typeface="Meiryo"/>
                <a:ea typeface="Meiryo"/>
                <a:cs typeface="Meiryo"/>
                <a:sym typeface="Meiryo"/>
              </a:rPr>
              <a:t>	</a:t>
            </a:r>
            <a:r>
              <a:rPr lang="ja-JP" sz="1600" b="1" dirty="0">
                <a:solidFill>
                  <a:srgbClr val="009650"/>
                </a:solidFill>
                <a:latin typeface="Meiryo"/>
                <a:ea typeface="Meiryo"/>
                <a:cs typeface="Meiryo"/>
                <a:sym typeface="Meiryo"/>
              </a:rPr>
              <a:t>出ていれば問題なし</a:t>
            </a:r>
            <a:endParaRPr sz="1600" b="1" dirty="0">
              <a:solidFill>
                <a:schemeClr val="dk1"/>
              </a:solidFill>
              <a:latin typeface="Meiryo"/>
              <a:ea typeface="Meiryo"/>
              <a:cs typeface="Meiryo"/>
              <a:sym typeface="Meiryo"/>
            </a:endParaRPr>
          </a:p>
          <a:p>
            <a:pPr marR="0" lvl="0" algn="l" rtl="0">
              <a:spcBef>
                <a:spcPts val="167"/>
              </a:spcBef>
              <a:spcAft>
                <a:spcPts val="0"/>
              </a:spcAft>
              <a:buNone/>
              <a:tabLst>
                <a:tab pos="350838" algn="l"/>
              </a:tabLst>
            </a:pPr>
            <a:r>
              <a:rPr kumimoji="0" lang="ja-JP" altLang="en-US" sz="2400" b="1" i="0" u="none" strike="noStrike" kern="0" cap="none" spc="0" normalizeH="0" baseline="0" noProof="0" dirty="0">
                <a:ln>
                  <a:noFill/>
                </a:ln>
                <a:solidFill>
                  <a:srgbClr val="009650"/>
                </a:solidFill>
                <a:effectLst/>
                <a:uLnTx/>
                <a:uFillTx/>
                <a:latin typeface="Meiryo"/>
                <a:ea typeface="Meiryo"/>
                <a:cs typeface="Meiryo"/>
                <a:sym typeface="Meiryo"/>
              </a:rPr>
              <a:t>❺</a:t>
            </a:r>
            <a:r>
              <a:rPr kumimoji="0" lang="en-US" altLang="ja-JP" sz="2400" b="1" i="0" u="none" strike="noStrike" kern="0" cap="none" spc="0" normalizeH="0" baseline="0" noProof="0" dirty="0">
                <a:ln>
                  <a:noFill/>
                </a:ln>
                <a:solidFill>
                  <a:srgbClr val="009650"/>
                </a:solidFill>
                <a:effectLst/>
                <a:uLnTx/>
                <a:uFillTx/>
                <a:latin typeface="Meiryo"/>
                <a:ea typeface="Meiryo"/>
                <a:cs typeface="Meiryo"/>
                <a:sym typeface="Meiryo"/>
              </a:rPr>
              <a:t>	</a:t>
            </a:r>
            <a:r>
              <a:rPr lang="ja-JP" sz="1800" b="1" dirty="0">
                <a:solidFill>
                  <a:schemeClr val="dk1"/>
                </a:solidFill>
                <a:latin typeface="Meiryo"/>
                <a:ea typeface="Meiryo"/>
                <a:cs typeface="Meiryo"/>
                <a:sym typeface="Meiryo"/>
              </a:rPr>
              <a:t>診察完了</a:t>
            </a:r>
            <a:endParaRPr sz="1800" b="1" dirty="0">
              <a:solidFill>
                <a:schemeClr val="dk1"/>
              </a:solidFill>
              <a:latin typeface="Meiryo"/>
              <a:ea typeface="Meiryo"/>
              <a:cs typeface="Meiryo"/>
              <a:sym typeface="Meiryo"/>
            </a:endParaRPr>
          </a:p>
          <a:p>
            <a:pPr marR="4343" lvl="0" algn="l" rtl="0">
              <a:spcBef>
                <a:spcPts val="85"/>
              </a:spcBef>
              <a:spcAft>
                <a:spcPts val="0"/>
              </a:spcAft>
              <a:buNone/>
              <a:tabLst>
                <a:tab pos="350838" algn="l"/>
              </a:tabLst>
            </a:pPr>
            <a:endParaRPr sz="1400" dirty="0">
              <a:solidFill>
                <a:schemeClr val="dk1"/>
              </a:solidFill>
              <a:latin typeface="Calibri"/>
              <a:ea typeface="Calibri"/>
              <a:cs typeface="Calibri"/>
              <a:sym typeface="Calibri"/>
            </a:endParaRPr>
          </a:p>
          <a:p>
            <a:pPr marR="0" lvl="0" algn="l" rtl="0">
              <a:spcBef>
                <a:spcPts val="167"/>
              </a:spcBef>
              <a:spcAft>
                <a:spcPts val="0"/>
              </a:spcAft>
              <a:buClr>
                <a:srgbClr val="000000"/>
              </a:buClr>
              <a:buSzPts val="1800"/>
              <a:buFont typeface="Arial"/>
              <a:buNone/>
              <a:tabLst>
                <a:tab pos="350838" algn="l"/>
              </a:tabLst>
            </a:pPr>
            <a:endParaRPr sz="1800" b="0" i="0" u="none" strike="noStrike" cap="none" dirty="0">
              <a:solidFill>
                <a:schemeClr val="dk1"/>
              </a:solidFill>
              <a:latin typeface="Meiryo"/>
              <a:ea typeface="Meiryo"/>
              <a:cs typeface="Meiryo"/>
              <a:sym typeface="Meiryo"/>
            </a:endParaRPr>
          </a:p>
        </p:txBody>
      </p:sp>
      <p:sp>
        <p:nvSpPr>
          <p:cNvPr id="859" name="Google Shape;859;g143eb037c4f_6_0"/>
          <p:cNvSpPr/>
          <p:nvPr/>
        </p:nvSpPr>
        <p:spPr>
          <a:xfrm>
            <a:off x="2993308" y="5646757"/>
            <a:ext cx="756000" cy="43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1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0"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7</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ビデオ診</a:t>
            </a:r>
            <a:r>
              <a:rPr lang="ja-JP" altLang="ja-JP" sz="3200" spc="-1250" dirty="0">
                <a:latin typeface="Meiryo"/>
                <a:ea typeface="Meiryo"/>
                <a:cs typeface="Meiryo"/>
                <a:sym typeface="Meiryo"/>
              </a:rPr>
              <a:t>察</a:t>
            </a:r>
            <a:r>
              <a:rPr lang="ja-JP" altLang="en-US" sz="3200" b="0" dirty="0">
                <a:sym typeface="Meiryo"/>
              </a:rPr>
              <a:t>［</a:t>
            </a:r>
            <a:r>
              <a:rPr lang="en-US" altLang="ja-JP" sz="3200" dirty="0">
                <a:latin typeface="Meiryo"/>
                <a:ea typeface="Meiryo"/>
                <a:cs typeface="Meiryo"/>
                <a:sym typeface="Meiryo"/>
              </a:rPr>
              <a:t>2</a:t>
            </a:r>
            <a:r>
              <a:rPr lang="ja-JP" altLang="en-US" sz="3200" b="0" dirty="0">
                <a:sym typeface="Meiryo"/>
              </a:rPr>
              <a:t>］</a:t>
            </a:r>
            <a:endParaRPr kumimoji="0" lang="ja-JP" altLang="en-US" sz="3200" b="0" kern="0" dirty="0"/>
          </a:p>
        </p:txBody>
      </p:sp>
      <p:grpSp>
        <p:nvGrpSpPr>
          <p:cNvPr id="21" name="図形グループ 20"/>
          <p:cNvGrpSpPr/>
          <p:nvPr/>
        </p:nvGrpSpPr>
        <p:grpSpPr>
          <a:xfrm>
            <a:off x="6055340" y="1842422"/>
            <a:ext cx="296586" cy="293005"/>
            <a:chOff x="5878361" y="3995693"/>
            <a:chExt cx="296586" cy="293005"/>
          </a:xfrm>
        </p:grpSpPr>
        <p:sp>
          <p:nvSpPr>
            <p:cNvPr id="22" name="円/楕円 21"/>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28"/>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0" name="図形グループ 29"/>
          <p:cNvGrpSpPr/>
          <p:nvPr/>
        </p:nvGrpSpPr>
        <p:grpSpPr>
          <a:xfrm>
            <a:off x="2849527" y="5500028"/>
            <a:ext cx="296586" cy="293005"/>
            <a:chOff x="5101121" y="3995693"/>
            <a:chExt cx="296586" cy="293005"/>
          </a:xfrm>
        </p:grpSpPr>
        <p:sp>
          <p:nvSpPr>
            <p:cNvPr id="31" name="円/楕円 30"/>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フリーフォーム 3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3" name="図形グループ 32"/>
          <p:cNvGrpSpPr>
            <a:grpSpLocks noChangeAspect="1"/>
          </p:cNvGrpSpPr>
          <p:nvPr/>
        </p:nvGrpSpPr>
        <p:grpSpPr>
          <a:xfrm>
            <a:off x="5196435" y="3167090"/>
            <a:ext cx="720000" cy="540000"/>
            <a:chOff x="3355262" y="5469690"/>
            <a:chExt cx="720000" cy="540000"/>
          </a:xfrm>
        </p:grpSpPr>
        <p:cxnSp>
          <p:nvCxnSpPr>
            <p:cNvPr id="34" name="カギ線コネクタ 33"/>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876"/>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CDCB5A40-B635-4920-BC0C-0D0128BD4D95}"/>
              </a:ext>
            </a:extLst>
          </p:cNvPr>
          <p:cNvGraphicFramePr>
            <a:graphicFrameLocks noChangeAspect="1"/>
          </p:cNvGraphicFramePr>
          <p:nvPr>
            <p:custDataLst>
              <p:tags r:id="rId2"/>
            </p:custDataLst>
            <p:extLst>
              <p:ext uri="{D42A27DB-BD31-4B8C-83A1-F6EECF244321}">
                <p14:modId xmlns:p14="http://schemas.microsoft.com/office/powerpoint/2010/main" val="240124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77"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77" name="Google Shape;877;p24" descr="診察詳細画面で確認できる「申込内容」と「お支払い」の項目が示されている画面の画像"/>
          <p:cNvPicPr preferRelativeResize="0">
            <a:picLocks noChangeAspect="1"/>
          </p:cNvPicPr>
          <p:nvPr/>
        </p:nvPicPr>
        <p:blipFill>
          <a:blip r:embed="rId7">
            <a:alphaModFix/>
          </a:blip>
          <a:stretch>
            <a:fillRect/>
          </a:stretch>
        </p:blipFill>
        <p:spPr>
          <a:xfrm>
            <a:off x="615823" y="1987550"/>
            <a:ext cx="1917059" cy="4140000"/>
          </a:xfrm>
          <a:prstGeom prst="rect">
            <a:avLst/>
          </a:prstGeom>
          <a:noFill/>
          <a:ln w="9525" cap="flat" cmpd="sng">
            <a:solidFill>
              <a:schemeClr val="dk2"/>
            </a:solidFill>
            <a:prstDash val="solid"/>
            <a:round/>
            <a:headEnd type="none" w="sm" len="sm"/>
            <a:tailEnd type="none" w="sm" len="sm"/>
          </a:ln>
        </p:spPr>
      </p:pic>
      <p:sp>
        <p:nvSpPr>
          <p:cNvPr id="879" name="Google Shape;879;p24"/>
          <p:cNvSpPr txBox="1"/>
          <p:nvPr/>
        </p:nvSpPr>
        <p:spPr>
          <a:xfrm>
            <a:off x="2704637" y="1953476"/>
            <a:ext cx="1800000" cy="3338021"/>
          </a:xfrm>
          <a:prstGeom prst="rect">
            <a:avLst/>
          </a:prstGeom>
          <a:noFill/>
          <a:ln>
            <a:noFill/>
          </a:ln>
        </p:spPr>
        <p:txBody>
          <a:bodyPr spcFirstLastPara="1" wrap="square" lIns="0" tIns="10850" rIns="0" bIns="0" anchor="t" anchorCtr="0">
            <a:spAutoFit/>
          </a:bodyPr>
          <a:lstStyle/>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ビデオ診察が</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終わったら、</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登録してある</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クレジット</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カードにて</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診察代金等の</a:t>
            </a:r>
            <a:endParaRPr lang="en-US" altLang="ja-JP" sz="1600" b="1" dirty="0">
              <a:solidFill>
                <a:schemeClr val="dk1"/>
              </a:solidFill>
              <a:latin typeface="Meiryo" charset="-128"/>
              <a:ea typeface="Meiryo"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決済が行われます。</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診察内容と</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決済内容は、</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アプリから</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確認できます。</a:t>
            </a:r>
            <a:endParaRPr sz="1600" b="1" u="none" strike="noStrike" cap="none" dirty="0">
              <a:solidFill>
                <a:schemeClr val="dk1"/>
              </a:solidFill>
              <a:latin typeface="Meiryo" charset="-128"/>
              <a:ea typeface="Meiryo" charset="-128"/>
              <a:cs typeface="Meiryo" charset="-128"/>
              <a:sym typeface="Meiryo"/>
            </a:endParaRPr>
          </a:p>
        </p:txBody>
      </p:sp>
      <p:sp>
        <p:nvSpPr>
          <p:cNvPr id="880" name="Google Shape;880;p24"/>
          <p:cNvSpPr txBox="1"/>
          <p:nvPr/>
        </p:nvSpPr>
        <p:spPr>
          <a:xfrm>
            <a:off x="4921493" y="1943009"/>
            <a:ext cx="3852000" cy="4295206"/>
          </a:xfrm>
          <a:prstGeom prst="rect">
            <a:avLst/>
          </a:prstGeom>
          <a:noFill/>
          <a:ln>
            <a:noFill/>
          </a:ln>
        </p:spPr>
        <p:txBody>
          <a:bodyPr spcFirstLastPara="1" wrap="square" lIns="0" tIns="10850" rIns="0" bIns="0" anchor="t" anchorCtr="0">
            <a:spAutoFit/>
          </a:bodyPr>
          <a:lstStyle/>
          <a:p>
            <a:pPr marL="10860" marR="4344" lvl="0" indent="0" algn="just" rtl="0">
              <a:lnSpc>
                <a:spcPct val="120000"/>
              </a:lnSpc>
              <a:spcBef>
                <a:spcPts val="0"/>
              </a:spcBef>
              <a:spcAft>
                <a:spcPts val="0"/>
              </a:spcAft>
              <a:buNone/>
            </a:pPr>
            <a:r>
              <a:rPr lang="en-US" altLang="ja-JP" sz="1600" b="1" dirty="0">
                <a:solidFill>
                  <a:srgbClr val="009650"/>
                </a:solidFill>
                <a:latin typeface="Meiryo" charset="-128"/>
                <a:ea typeface="Meiryo" charset="-128"/>
                <a:cs typeface="Meiryo" charset="-128"/>
                <a:sym typeface="Meiryo"/>
              </a:rPr>
              <a:t>A.</a:t>
            </a:r>
            <a:r>
              <a:rPr lang="ja-JP" sz="1600" b="1" dirty="0">
                <a:solidFill>
                  <a:srgbClr val="009650"/>
                </a:solidFill>
                <a:latin typeface="Meiryo" charset="-128"/>
                <a:ea typeface="Meiryo" charset="-128"/>
                <a:cs typeface="Meiryo" charset="-128"/>
                <a:sym typeface="Meiryo"/>
              </a:rPr>
              <a:t> お薬・処方箋がご自宅に届く場合</a:t>
            </a:r>
            <a:endParaRPr sz="1600" b="1" dirty="0">
              <a:solidFill>
                <a:srgbClr val="009650"/>
              </a:solidFill>
              <a:latin typeface="Meiryo" charset="-128"/>
              <a:ea typeface="Meiryo"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Meiryo" charset="-128"/>
                <a:ea typeface="Meiryo" charset="-128"/>
                <a:cs typeface="Meiryo" charset="-128"/>
                <a:sym typeface="Meiryo"/>
              </a:rPr>
              <a:t>お薬・処方箋は登録している住所に</a:t>
            </a:r>
            <a:endParaRPr lang="en-US" altLang="ja-JP" sz="1600" b="1" dirty="0">
              <a:solidFill>
                <a:schemeClr val="dk1"/>
              </a:solidFill>
              <a:latin typeface="Meiryo" charset="-128"/>
              <a:ea typeface="Meiryo"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Meiryo" charset="-128"/>
                <a:ea typeface="Meiryo" charset="-128"/>
                <a:cs typeface="Meiryo" charset="-128"/>
                <a:sym typeface="Meiryo"/>
              </a:rPr>
              <a:t>配送されます</a:t>
            </a:r>
            <a:r>
              <a:rPr lang="ja-JP" sz="1600" b="1" spc="-300" dirty="0">
                <a:solidFill>
                  <a:schemeClr val="dk1"/>
                </a:solidFill>
                <a:latin typeface="Meiryo" charset="-128"/>
                <a:ea typeface="Meiryo" charset="-128"/>
                <a:cs typeface="Meiryo" charset="-128"/>
                <a:sym typeface="Meiryo"/>
              </a:rPr>
              <a:t>。</a:t>
            </a:r>
            <a:r>
              <a:rPr lang="ja-JP" sz="1600" b="1" dirty="0">
                <a:solidFill>
                  <a:schemeClr val="dk1"/>
                </a:solidFill>
                <a:latin typeface="Meiryo" charset="-128"/>
                <a:ea typeface="Meiryo" charset="-128"/>
                <a:cs typeface="Meiryo" charset="-128"/>
                <a:sym typeface="Meiryo"/>
              </a:rPr>
              <a:t>処方箋は薬局に</a:t>
            </a:r>
            <a:endParaRPr lang="en-US" altLang="ja-JP" sz="1600" b="1" dirty="0">
              <a:solidFill>
                <a:schemeClr val="dk1"/>
              </a:solidFill>
              <a:latin typeface="Meiryo" charset="-128"/>
              <a:ea typeface="Meiryo"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Meiryo" charset="-128"/>
                <a:ea typeface="Meiryo" charset="-128"/>
                <a:cs typeface="Meiryo" charset="-128"/>
                <a:sym typeface="Meiryo"/>
              </a:rPr>
              <a:t>持参しましょう</a:t>
            </a:r>
            <a:r>
              <a:rPr lang="ja-JP" sz="1600" b="1" spc="-300" dirty="0">
                <a:solidFill>
                  <a:schemeClr val="dk1"/>
                </a:solidFill>
                <a:latin typeface="Meiryo" charset="-128"/>
                <a:ea typeface="Meiryo" charset="-128"/>
                <a:cs typeface="Meiryo" charset="-128"/>
                <a:sym typeface="Meiryo"/>
              </a:rPr>
              <a:t>。</a:t>
            </a:r>
            <a:r>
              <a:rPr lang="ja-JP" sz="1600" b="1" dirty="0">
                <a:solidFill>
                  <a:schemeClr val="dk1"/>
                </a:solidFill>
                <a:latin typeface="Meiryo" charset="-128"/>
                <a:ea typeface="Meiryo" charset="-128"/>
                <a:cs typeface="Meiryo" charset="-128"/>
                <a:sym typeface="Meiryo"/>
              </a:rPr>
              <a:t>その際</a:t>
            </a:r>
            <a:r>
              <a:rPr lang="ja-JP" sz="1600" b="1" spc="-300" dirty="0">
                <a:solidFill>
                  <a:schemeClr val="dk1"/>
                </a:solidFill>
                <a:latin typeface="Meiryo" charset="-128"/>
                <a:ea typeface="Meiryo" charset="-128"/>
                <a:cs typeface="Meiryo" charset="-128"/>
                <a:sym typeface="Meiryo"/>
              </a:rPr>
              <a:t>、</a:t>
            </a:r>
            <a:r>
              <a:rPr lang="ja-JP" sz="1600" b="1" dirty="0">
                <a:solidFill>
                  <a:schemeClr val="dk1"/>
                </a:solidFill>
                <a:latin typeface="Meiryo" charset="-128"/>
                <a:ea typeface="Meiryo" charset="-128"/>
                <a:cs typeface="Meiryo" charset="-128"/>
                <a:sym typeface="Meiryo"/>
              </a:rPr>
              <a:t>処方箋の</a:t>
            </a:r>
            <a:endParaRPr lang="en-US" altLang="ja-JP" sz="1600" b="1" dirty="0">
              <a:solidFill>
                <a:schemeClr val="dk1"/>
              </a:solidFill>
              <a:latin typeface="Meiryo" charset="-128"/>
              <a:ea typeface="Meiryo"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Meiryo" charset="-128"/>
                <a:ea typeface="Meiryo" charset="-128"/>
                <a:cs typeface="Meiryo" charset="-128"/>
                <a:sym typeface="Meiryo"/>
              </a:rPr>
              <a:t>有効期間にご注意ください。</a:t>
            </a:r>
            <a:endParaRPr sz="1600" b="1" dirty="0">
              <a:solidFill>
                <a:schemeClr val="dk1"/>
              </a:solidFill>
              <a:latin typeface="Meiryo" charset="-128"/>
              <a:ea typeface="Meiryo" charset="-128"/>
              <a:cs typeface="Meiryo" charset="-128"/>
              <a:sym typeface="Meiryo"/>
            </a:endParaRPr>
          </a:p>
          <a:p>
            <a:pPr marL="10860" marR="4344" lvl="0" indent="0" algn="just" rtl="0">
              <a:lnSpc>
                <a:spcPct val="120000"/>
              </a:lnSpc>
              <a:spcBef>
                <a:spcPts val="0"/>
              </a:spcBef>
              <a:spcAft>
                <a:spcPts val="0"/>
              </a:spcAft>
              <a:buNone/>
            </a:pPr>
            <a:r>
              <a:rPr lang="ja-JP" sz="1200" b="1" dirty="0">
                <a:solidFill>
                  <a:srgbClr val="313541"/>
                </a:solidFill>
                <a:latin typeface="Meiryo" charset="-128"/>
                <a:ea typeface="Meiryo" charset="-128"/>
                <a:cs typeface="Meiryo" charset="-128"/>
              </a:rPr>
              <a:t>医療機関がクロンの配送補助サービスを</a:t>
            </a:r>
            <a:endParaRPr lang="en-US" altLang="ja-JP" sz="1200" b="1" dirty="0">
              <a:solidFill>
                <a:srgbClr val="313541"/>
              </a:solidFill>
              <a:latin typeface="Meiryo" charset="-128"/>
              <a:ea typeface="Meiryo" charset="-128"/>
              <a:cs typeface="Meiryo" charset="-128"/>
            </a:endParaRPr>
          </a:p>
          <a:p>
            <a:pPr marL="10860" marR="4344" lvl="0" indent="0" algn="just" rtl="0">
              <a:lnSpc>
                <a:spcPct val="120000"/>
              </a:lnSpc>
              <a:spcBef>
                <a:spcPts val="0"/>
              </a:spcBef>
              <a:spcAft>
                <a:spcPts val="0"/>
              </a:spcAft>
              <a:buNone/>
            </a:pPr>
            <a:r>
              <a:rPr lang="ja-JP" sz="1200" b="1" dirty="0">
                <a:solidFill>
                  <a:srgbClr val="313541"/>
                </a:solidFill>
                <a:latin typeface="Meiryo" charset="-128"/>
                <a:ea typeface="Meiryo" charset="-128"/>
                <a:cs typeface="Meiryo" charset="-128"/>
              </a:rPr>
              <a:t>利用する場合は</a:t>
            </a:r>
            <a:r>
              <a:rPr lang="ja-JP" sz="1200" b="1" spc="-300" dirty="0">
                <a:solidFill>
                  <a:srgbClr val="313541"/>
                </a:solidFill>
                <a:latin typeface="Meiryo" charset="-128"/>
                <a:ea typeface="Meiryo" charset="-128"/>
                <a:cs typeface="Meiryo" charset="-128"/>
              </a:rPr>
              <a:t>、</a:t>
            </a:r>
            <a:r>
              <a:rPr lang="ja-JP" sz="1200" b="1" dirty="0">
                <a:solidFill>
                  <a:srgbClr val="313541"/>
                </a:solidFill>
                <a:latin typeface="Meiryo" charset="-128"/>
                <a:ea typeface="Meiryo" charset="-128"/>
                <a:cs typeface="Meiryo" charset="-128"/>
              </a:rPr>
              <a:t>追跡番号などが表示されます。</a:t>
            </a:r>
            <a:endParaRPr sz="1200" b="1" dirty="0">
              <a:solidFill>
                <a:schemeClr val="dk1"/>
              </a:solidFill>
              <a:latin typeface="Meiryo" charset="-128"/>
              <a:ea typeface="Meiryo" charset="-128"/>
              <a:cs typeface="Meiryo" charset="-128"/>
              <a:sym typeface="Meiryo"/>
            </a:endParaRPr>
          </a:p>
          <a:p>
            <a:pPr marL="10860" marR="4344" lvl="0" indent="0" algn="just" rtl="0">
              <a:lnSpc>
                <a:spcPct val="120000"/>
              </a:lnSpc>
              <a:spcBef>
                <a:spcPts val="0"/>
              </a:spcBef>
              <a:spcAft>
                <a:spcPts val="0"/>
              </a:spcAft>
              <a:buNone/>
            </a:pPr>
            <a:endParaRPr sz="1600" b="1" dirty="0">
              <a:solidFill>
                <a:schemeClr val="dk1"/>
              </a:solidFill>
              <a:latin typeface="Meiryo" charset="-128"/>
              <a:ea typeface="Meiryo" charset="-128"/>
              <a:cs typeface="Meiryo" charset="-128"/>
              <a:sym typeface="Meiryo"/>
            </a:endParaRPr>
          </a:p>
          <a:p>
            <a:pPr marL="10859" marR="4343" lvl="0" indent="0" algn="just" rtl="0">
              <a:lnSpc>
                <a:spcPct val="120000"/>
              </a:lnSpc>
              <a:spcBef>
                <a:spcPts val="0"/>
              </a:spcBef>
              <a:spcAft>
                <a:spcPts val="0"/>
              </a:spcAft>
              <a:buNone/>
            </a:pPr>
            <a:r>
              <a:rPr lang="en-US" altLang="ja-JP" sz="1600" b="1" dirty="0">
                <a:solidFill>
                  <a:srgbClr val="009650"/>
                </a:solidFill>
                <a:latin typeface="Meiryo" charset="-128"/>
                <a:ea typeface="Meiryo" charset="-128"/>
                <a:cs typeface="Meiryo" charset="-128"/>
                <a:sym typeface="Meiryo"/>
              </a:rPr>
              <a:t>B.</a:t>
            </a:r>
            <a:r>
              <a:rPr lang="ja-JP" sz="1600" b="1" dirty="0">
                <a:solidFill>
                  <a:srgbClr val="009650"/>
                </a:solidFill>
                <a:latin typeface="Meiryo" charset="-128"/>
                <a:ea typeface="Meiryo" charset="-128"/>
                <a:cs typeface="Meiryo" charset="-128"/>
                <a:sym typeface="Meiryo"/>
              </a:rPr>
              <a:t> 処方箋が薬局に送られる場合</a:t>
            </a:r>
            <a:endParaRPr sz="1600" b="1" dirty="0">
              <a:solidFill>
                <a:srgbClr val="009650"/>
              </a:solidFill>
              <a:latin typeface="Meiryo" charset="-128"/>
              <a:ea typeface="Meiryo"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rgbClr val="313541"/>
                </a:solidFill>
                <a:latin typeface="Meiryo" charset="-128"/>
                <a:ea typeface="Meiryo" charset="-128"/>
                <a:cs typeface="Meiryo" charset="-128"/>
              </a:rPr>
              <a:t>医療機関から処方箋が送られた</a:t>
            </a:r>
            <a:endParaRPr lang="en-US" altLang="ja-JP" sz="1600" b="1" dirty="0">
              <a:solidFill>
                <a:srgbClr val="313541"/>
              </a:solidFill>
              <a:latin typeface="Meiryo" charset="-128"/>
              <a:ea typeface="Meiryo" charset="-128"/>
              <a:cs typeface="Meiryo" charset="-128"/>
            </a:endParaRPr>
          </a:p>
          <a:p>
            <a:pPr marL="10859" marR="4343" lvl="0" indent="0" algn="just" rtl="0">
              <a:lnSpc>
                <a:spcPct val="120000"/>
              </a:lnSpc>
              <a:spcBef>
                <a:spcPts val="0"/>
              </a:spcBef>
              <a:spcAft>
                <a:spcPts val="0"/>
              </a:spcAft>
              <a:buNone/>
            </a:pPr>
            <a:r>
              <a:rPr lang="ja-JP" sz="1600" b="1" dirty="0">
                <a:solidFill>
                  <a:srgbClr val="313541"/>
                </a:solidFill>
                <a:latin typeface="Meiryo" charset="-128"/>
                <a:ea typeface="Meiryo" charset="-128"/>
                <a:cs typeface="Meiryo" charset="-128"/>
              </a:rPr>
              <a:t>薬局情報が表示されます。</a:t>
            </a:r>
            <a:endParaRPr sz="1600" b="1" dirty="0">
              <a:solidFill>
                <a:srgbClr val="313541"/>
              </a:solidFill>
              <a:latin typeface="Meiryo" charset="-128"/>
              <a:ea typeface="Meiryo" charset="-128"/>
              <a:cs typeface="Meiryo" charset="-128"/>
            </a:endParaRPr>
          </a:p>
          <a:p>
            <a:pPr marL="10860" marR="4344" lvl="0" indent="0" algn="just" rtl="0">
              <a:lnSpc>
                <a:spcPct val="120000"/>
              </a:lnSpc>
              <a:spcBef>
                <a:spcPts val="0"/>
              </a:spcBef>
              <a:spcAft>
                <a:spcPts val="0"/>
              </a:spcAft>
              <a:buNone/>
            </a:pPr>
            <a:r>
              <a:rPr lang="ja-JP" sz="1600" b="1" dirty="0">
                <a:solidFill>
                  <a:srgbClr val="313541"/>
                </a:solidFill>
                <a:latin typeface="Meiryo" charset="-128"/>
                <a:ea typeface="Meiryo" charset="-128"/>
                <a:cs typeface="Meiryo" charset="-128"/>
              </a:rPr>
              <a:t>オン</a:t>
            </a:r>
            <a:r>
              <a:rPr lang="ja-JP" altLang="en-US" sz="1600" b="1" dirty="0">
                <a:solidFill>
                  <a:srgbClr val="313541"/>
                </a:solidFill>
                <a:latin typeface="Meiryo" charset="-128"/>
                <a:ea typeface="Meiryo" charset="-128"/>
                <a:cs typeface="Meiryo" charset="-128"/>
              </a:rPr>
              <a:t>ラ</a:t>
            </a:r>
            <a:r>
              <a:rPr lang="ja-JP" sz="1600" b="1" dirty="0">
                <a:solidFill>
                  <a:srgbClr val="313541"/>
                </a:solidFill>
                <a:latin typeface="Meiryo" charset="-128"/>
                <a:ea typeface="Meiryo" charset="-128"/>
                <a:cs typeface="Meiryo" charset="-128"/>
              </a:rPr>
              <a:t>イン服薬指導が可能な</a:t>
            </a:r>
            <a:endParaRPr lang="en-US" altLang="ja-JP" sz="1600" b="1" dirty="0">
              <a:solidFill>
                <a:srgbClr val="313541"/>
              </a:solidFill>
              <a:latin typeface="Meiryo" charset="-128"/>
              <a:ea typeface="Meiryo" charset="-128"/>
              <a:cs typeface="Meiryo" charset="-128"/>
            </a:endParaRPr>
          </a:p>
          <a:p>
            <a:pPr marL="10860" marR="4344" lvl="0" indent="0" algn="just" rtl="0">
              <a:lnSpc>
                <a:spcPct val="120000"/>
              </a:lnSpc>
              <a:spcBef>
                <a:spcPts val="0"/>
              </a:spcBef>
              <a:spcAft>
                <a:spcPts val="0"/>
              </a:spcAft>
              <a:buNone/>
            </a:pPr>
            <a:r>
              <a:rPr lang="ja-JP" sz="1600" b="1" dirty="0">
                <a:solidFill>
                  <a:srgbClr val="313541"/>
                </a:solidFill>
                <a:latin typeface="Meiryo" charset="-128"/>
                <a:ea typeface="Meiryo" charset="-128"/>
                <a:cs typeface="Meiryo" charset="-128"/>
              </a:rPr>
              <a:t>薬局の場合は</a:t>
            </a:r>
            <a:r>
              <a:rPr lang="ja-JP" sz="1600" b="1" spc="-300" dirty="0">
                <a:solidFill>
                  <a:srgbClr val="313541"/>
                </a:solidFill>
                <a:latin typeface="Meiryo" charset="-128"/>
                <a:ea typeface="Meiryo" charset="-128"/>
                <a:cs typeface="Meiryo" charset="-128"/>
              </a:rPr>
              <a:t>、</a:t>
            </a:r>
            <a:r>
              <a:rPr lang="en-US" altLang="ja-JP" sz="1600" b="1" dirty="0">
                <a:solidFill>
                  <a:srgbClr val="313541"/>
                </a:solidFill>
                <a:latin typeface="Meiryo" charset="-128"/>
                <a:ea typeface="Meiryo" charset="-128"/>
                <a:cs typeface="Meiryo" charset="-128"/>
              </a:rPr>
              <a:t>｢</a:t>
            </a:r>
            <a:r>
              <a:rPr lang="ja-JP" sz="1600" b="1" dirty="0">
                <a:solidFill>
                  <a:srgbClr val="313541"/>
                </a:solidFill>
                <a:latin typeface="Meiryo" charset="-128"/>
                <a:ea typeface="Meiryo" charset="-128"/>
                <a:cs typeface="Meiryo" charset="-128"/>
              </a:rPr>
              <a:t>服薬指導を申し込む</a:t>
            </a:r>
            <a:r>
              <a:rPr lang="en-US" altLang="ja-JP" sz="1600" b="1" dirty="0">
                <a:solidFill>
                  <a:srgbClr val="313541"/>
                </a:solidFill>
                <a:latin typeface="Meiryo" charset="-128"/>
                <a:ea typeface="Meiryo" charset="-128"/>
                <a:cs typeface="Meiryo" charset="-128"/>
              </a:rPr>
              <a:t>｣</a:t>
            </a:r>
            <a:r>
              <a:rPr lang="ja-JP" sz="1600" b="1" dirty="0">
                <a:solidFill>
                  <a:srgbClr val="313541"/>
                </a:solidFill>
                <a:latin typeface="Meiryo" charset="-128"/>
                <a:ea typeface="Meiryo" charset="-128"/>
                <a:cs typeface="Meiryo" charset="-128"/>
              </a:rPr>
              <a:t>を</a:t>
            </a:r>
            <a:endParaRPr lang="en-US" altLang="ja-JP" sz="1600" b="1" dirty="0">
              <a:solidFill>
                <a:srgbClr val="313541"/>
              </a:solidFill>
              <a:latin typeface="Meiryo" charset="-128"/>
              <a:ea typeface="Meiryo" charset="-128"/>
              <a:cs typeface="Meiryo" charset="-128"/>
            </a:endParaRPr>
          </a:p>
          <a:p>
            <a:pPr marL="10860" marR="4344" lvl="0" indent="0" algn="just" rtl="0">
              <a:lnSpc>
                <a:spcPct val="120000"/>
              </a:lnSpc>
              <a:spcBef>
                <a:spcPts val="0"/>
              </a:spcBef>
              <a:spcAft>
                <a:spcPts val="0"/>
              </a:spcAft>
              <a:buNone/>
            </a:pPr>
            <a:r>
              <a:rPr lang="ja-JP" sz="1600" b="1" dirty="0">
                <a:solidFill>
                  <a:srgbClr val="313541"/>
                </a:solidFill>
                <a:latin typeface="Meiryo" charset="-128"/>
                <a:ea typeface="Meiryo" charset="-128"/>
                <a:cs typeface="Meiryo" charset="-128"/>
              </a:rPr>
              <a:t>タップし</a:t>
            </a:r>
            <a:r>
              <a:rPr lang="ja-JP" sz="1600" b="1" spc="-300" dirty="0">
                <a:solidFill>
                  <a:srgbClr val="313541"/>
                </a:solidFill>
                <a:latin typeface="Meiryo" charset="-128"/>
                <a:ea typeface="Meiryo" charset="-128"/>
                <a:cs typeface="Meiryo" charset="-128"/>
              </a:rPr>
              <a:t>、</a:t>
            </a:r>
            <a:r>
              <a:rPr lang="ja-JP" sz="1600" b="1" dirty="0">
                <a:solidFill>
                  <a:srgbClr val="313541"/>
                </a:solidFill>
                <a:latin typeface="Meiryo" charset="-128"/>
                <a:ea typeface="Meiryo" charset="-128"/>
                <a:cs typeface="Meiryo" charset="-128"/>
              </a:rPr>
              <a:t>お手続きを行います。</a:t>
            </a:r>
            <a:endParaRPr sz="1600" b="1" dirty="0">
              <a:solidFill>
                <a:srgbClr val="313541"/>
              </a:solidFill>
              <a:latin typeface="Meiryo" charset="-128"/>
              <a:ea typeface="Meiryo" charset="-128"/>
              <a:cs typeface="Meiryo" charset="-128"/>
            </a:endParaRPr>
          </a:p>
          <a:p>
            <a:pPr marL="0" marR="4344" lvl="0" indent="0" algn="just" rtl="0">
              <a:lnSpc>
                <a:spcPct val="120000"/>
              </a:lnSpc>
              <a:spcBef>
                <a:spcPts val="0"/>
              </a:spcBef>
              <a:spcAft>
                <a:spcPts val="0"/>
              </a:spcAft>
              <a:buNone/>
            </a:pPr>
            <a:endParaRPr sz="1600" b="1" dirty="0">
              <a:solidFill>
                <a:schemeClr val="dk1"/>
              </a:solidFill>
              <a:latin typeface="Meiryo" charset="-128"/>
              <a:ea typeface="Meiryo" charset="-128"/>
              <a:cs typeface="Meiryo" charset="-128"/>
              <a:sym typeface="Meiryo"/>
            </a:endParaRPr>
          </a:p>
        </p:txBody>
      </p:sp>
      <p:sp>
        <p:nvSpPr>
          <p:cNvPr id="881" name="Google Shape;881;p24"/>
          <p:cNvSpPr txBox="1"/>
          <p:nvPr/>
        </p:nvSpPr>
        <p:spPr>
          <a:xfrm>
            <a:off x="513648" y="1399805"/>
            <a:ext cx="2520000" cy="64633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ja-JP" sz="1800" b="1" i="0" u="none" strike="noStrike" cap="none">
                <a:solidFill>
                  <a:schemeClr val="dk1"/>
                </a:solidFill>
                <a:latin typeface="Meiryo"/>
                <a:ea typeface="Meiryo"/>
                <a:cs typeface="Meiryo"/>
                <a:sym typeface="Meiryo"/>
              </a:rPr>
              <a:t>診察・決済内容の確認</a:t>
            </a:r>
            <a:endParaRPr sz="1800" b="1" i="0" u="none" strike="noStrike" cap="none">
              <a:solidFill>
                <a:schemeClr val="dk1"/>
              </a:solidFill>
              <a:latin typeface="Meiryo"/>
              <a:ea typeface="Meiryo"/>
              <a:cs typeface="Meiryo"/>
              <a:sym typeface="Meiryo"/>
            </a:endParaRPr>
          </a:p>
        </p:txBody>
      </p:sp>
      <p:sp>
        <p:nvSpPr>
          <p:cNvPr id="882" name="Google Shape;882;p24"/>
          <p:cNvSpPr txBox="1"/>
          <p:nvPr/>
        </p:nvSpPr>
        <p:spPr>
          <a:xfrm>
            <a:off x="4921494" y="1420820"/>
            <a:ext cx="2520000" cy="2880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800"/>
              <a:buFont typeface="Arial"/>
              <a:buNone/>
            </a:pPr>
            <a:r>
              <a:rPr lang="ja-JP" sz="1800" b="1" i="0" u="none" strike="noStrike" cap="none">
                <a:solidFill>
                  <a:schemeClr val="dk1"/>
                </a:solidFill>
                <a:latin typeface="Meiryo"/>
                <a:ea typeface="Meiryo"/>
                <a:cs typeface="Meiryo"/>
                <a:sym typeface="Meiryo"/>
              </a:rPr>
              <a:t>お薬の有る場合</a:t>
            </a:r>
            <a:endParaRPr sz="1800" b="1" i="0" u="none" strike="noStrike" cap="none">
              <a:solidFill>
                <a:schemeClr val="dk1"/>
              </a:solidFill>
              <a:latin typeface="Meiryo"/>
              <a:ea typeface="Meiryo"/>
              <a:cs typeface="Meiryo"/>
              <a:sym typeface="Meiryo"/>
            </a:endParaRPr>
          </a:p>
        </p:txBody>
      </p:sp>
      <p:sp>
        <p:nvSpPr>
          <p:cNvPr id="883" name="Google Shape;883;p24"/>
          <p:cNvSpPr/>
          <p:nvPr/>
        </p:nvSpPr>
        <p:spPr>
          <a:xfrm>
            <a:off x="641556" y="4150375"/>
            <a:ext cx="1857300" cy="316800"/>
          </a:xfrm>
          <a:prstGeom prst="rect">
            <a:avLst/>
          </a:prstGeom>
          <a:noFill/>
          <a:ln w="28575"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cxnSp>
        <p:nvCxnSpPr>
          <p:cNvPr id="884" name="Google Shape;884;p24"/>
          <p:cNvCxnSpPr/>
          <p:nvPr/>
        </p:nvCxnSpPr>
        <p:spPr>
          <a:xfrm>
            <a:off x="4572000" y="1270000"/>
            <a:ext cx="0" cy="5040000"/>
          </a:xfrm>
          <a:prstGeom prst="straightConnector1">
            <a:avLst/>
          </a:prstGeom>
          <a:noFill/>
          <a:ln w="19050" cap="flat" cmpd="sng">
            <a:solidFill>
              <a:srgbClr val="009650"/>
            </a:solidFill>
            <a:prstDash val="solid"/>
            <a:round/>
            <a:headEnd type="none" w="sm" len="sm"/>
            <a:tailEnd type="none" w="sm" len="sm"/>
          </a:ln>
        </p:spPr>
      </p:cxnSp>
      <p:sp>
        <p:nvSpPr>
          <p:cNvPr id="886" name="Google Shape;886;p24"/>
          <p:cNvSpPr/>
          <p:nvPr/>
        </p:nvSpPr>
        <p:spPr>
          <a:xfrm>
            <a:off x="641556" y="4883800"/>
            <a:ext cx="1857300" cy="316800"/>
          </a:xfrm>
          <a:prstGeom prst="rect">
            <a:avLst/>
          </a:prstGeom>
          <a:noFill/>
          <a:ln w="28575"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13"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14"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8</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診察後の流れ</a:t>
            </a:r>
            <a:endParaRPr kumimoji="0" lang="ja-JP" altLang="en-US" sz="3200" b="0" kern="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2"/>
        <p:cNvGrpSpPr/>
        <p:nvPr/>
      </p:nvGrpSpPr>
      <p:grpSpPr>
        <a:xfrm>
          <a:off x="0" y="0"/>
          <a:ext cx="0" cy="0"/>
          <a:chOff x="0" y="0"/>
          <a:chExt cx="0" cy="0"/>
        </a:xfrm>
      </p:grpSpPr>
      <p:pic>
        <p:nvPicPr>
          <p:cNvPr id="83" name="Google Shape;83;p4" descr="認証番号入力画面の画像"/>
          <p:cNvPicPr preferRelativeResize="0"/>
          <p:nvPr/>
        </p:nvPicPr>
        <p:blipFill>
          <a:blip r:embed="rId3">
            <a:alphaModFix/>
          </a:blip>
          <a:stretch>
            <a:fillRect/>
          </a:stretch>
        </p:blipFill>
        <p:spPr>
          <a:xfrm>
            <a:off x="6926750" y="1993500"/>
            <a:ext cx="1619075" cy="3505845"/>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84" name="Google Shape;84;p4" descr="「クロン」アプリのトップ画面で「新規登録はこちら」をタップしている画像"/>
          <p:cNvPicPr preferRelativeResize="0"/>
          <p:nvPr/>
        </p:nvPicPr>
        <p:blipFill>
          <a:blip r:embed="rId4">
            <a:alphaModFix/>
          </a:blip>
          <a:stretch>
            <a:fillRect/>
          </a:stretch>
        </p:blipFill>
        <p:spPr>
          <a:xfrm>
            <a:off x="2955407" y="1993526"/>
            <a:ext cx="1619064" cy="3505775"/>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85" name="Google Shape;85;p4"/>
          <p:cNvSpPr txBox="1"/>
          <p:nvPr/>
        </p:nvSpPr>
        <p:spPr>
          <a:xfrm>
            <a:off x="313517" y="1899950"/>
            <a:ext cx="2520000" cy="3228433"/>
          </a:xfrm>
          <a:prstGeom prst="rect">
            <a:avLst/>
          </a:prstGeom>
          <a:noFill/>
          <a:ln>
            <a:noFill/>
          </a:ln>
        </p:spPr>
        <p:txBody>
          <a:bodyPr spcFirstLastPara="1" wrap="square" lIns="0" tIns="12050" rIns="0" bIns="0" anchor="t" anchorCtr="0">
            <a:spAutoFit/>
          </a:bodyPr>
          <a:lstStyle/>
          <a:p>
            <a:pPr marL="9525" marR="0" lvl="0" algn="l" rtl="0">
              <a:lnSpc>
                <a:spcPct val="100000"/>
              </a:lnSpc>
              <a:spcBef>
                <a:spcPts val="0"/>
              </a:spcBef>
              <a:spcAft>
                <a:spcPts val="0"/>
              </a:spcAft>
              <a:buClr>
                <a:srgbClr val="000000"/>
              </a:buClr>
              <a:buSzPts val="2400"/>
              <a:buFont typeface="Arial"/>
              <a:buNone/>
              <a:tabLst>
                <a:tab pos="347663" algn="l"/>
              </a:tabLst>
            </a:pPr>
            <a:r>
              <a:rPr lang="ja-JP" sz="2400" b="1" i="0" u="none" strike="noStrike" cap="none">
                <a:solidFill>
                  <a:srgbClr val="009650"/>
                </a:solidFill>
                <a:latin typeface="Meiryo"/>
                <a:ea typeface="Meiryo"/>
                <a:cs typeface="Meiryo"/>
                <a:sym typeface="Meiryo"/>
              </a:rPr>
              <a:t>❶</a:t>
            </a:r>
            <a:r>
              <a:rPr lang="en-US" altLang="ja-JP" sz="2400" b="1" i="0" u="none" strike="noStrike" cap="none">
                <a:solidFill>
                  <a:srgbClr val="009650"/>
                </a:solidFill>
                <a:latin typeface="Meiryo"/>
                <a:ea typeface="Meiryo"/>
                <a:cs typeface="Meiryo"/>
                <a:sym typeface="Meiryo"/>
              </a:rPr>
              <a:t>	</a:t>
            </a:r>
            <a:r>
              <a:rPr lang="en-US" altLang="ja-JP" sz="1800" b="1" i="0" u="none" strike="noStrike" cap="none">
                <a:solidFill>
                  <a:schemeClr val="dk1"/>
                </a:solidFill>
                <a:latin typeface="Meiryo"/>
                <a:ea typeface="Meiryo"/>
                <a:cs typeface="Meiryo"/>
                <a:sym typeface="Meiryo"/>
              </a:rPr>
              <a:t>｢</a:t>
            </a:r>
            <a:r>
              <a:rPr lang="ja-JP" sz="1800" b="1" i="0" u="none" strike="noStrike" cap="none">
                <a:solidFill>
                  <a:schemeClr val="dk1"/>
                </a:solidFill>
                <a:latin typeface="Meiryo"/>
                <a:ea typeface="Meiryo"/>
                <a:cs typeface="Meiryo"/>
                <a:sym typeface="Meiryo"/>
              </a:rPr>
              <a:t>新規</a:t>
            </a:r>
            <a:r>
              <a:rPr lang="ja-JP" sz="1800" b="1" i="0" u="none" strike="noStrike" cap="none" dirty="0">
                <a:solidFill>
                  <a:schemeClr val="dk1"/>
                </a:solidFill>
                <a:latin typeface="Meiryo"/>
                <a:ea typeface="Meiryo"/>
                <a:cs typeface="Meiryo"/>
                <a:sym typeface="Meiryo"/>
              </a:rPr>
              <a:t>登録はこちら</a:t>
            </a:r>
            <a:r>
              <a:rPr lang="en-US" altLang="ja-JP" sz="1800" b="1" i="0" u="none" strike="noStrike" cap="none"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　</a:t>
            </a:r>
            <a:r>
              <a:rPr lang="en-US" altLang="ja-JP" sz="1800" b="1" dirty="0">
                <a:solidFill>
                  <a:schemeClr val="dk1"/>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をタップ </a:t>
            </a:r>
            <a:endParaRPr sz="1800" b="1" i="0" u="none" strike="noStrike" cap="none" dirty="0">
              <a:solidFill>
                <a:schemeClr val="dk1"/>
              </a:solidFill>
              <a:latin typeface="Meiryo"/>
              <a:ea typeface="Meiryo"/>
              <a:cs typeface="Meiryo"/>
              <a:sym typeface="Meiryo"/>
            </a:endParaRPr>
          </a:p>
          <a:p>
            <a:pPr marL="9525" marR="4343" lvl="0" algn="l" rtl="0">
              <a:lnSpc>
                <a:spcPct val="100000"/>
              </a:lnSpc>
              <a:spcBef>
                <a:spcPts val="85"/>
              </a:spcBef>
              <a:spcAft>
                <a:spcPts val="0"/>
              </a:spcAft>
              <a:buClr>
                <a:srgbClr val="000000"/>
              </a:buClr>
              <a:buSzPts val="2400"/>
              <a:buFont typeface="Arial"/>
              <a:buNone/>
              <a:tabLst>
                <a:tab pos="347663"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メ</a:t>
            </a:r>
            <a:r>
              <a:rPr lang="ja-JP" sz="1800" b="1" i="0" u="none" strike="noStrike" cap="none" dirty="0">
                <a:solidFill>
                  <a:schemeClr val="dk1"/>
                </a:solidFill>
                <a:latin typeface="Meiryo"/>
                <a:ea typeface="Meiryo"/>
                <a:cs typeface="Meiryo"/>
                <a:sym typeface="Meiryo"/>
              </a:rPr>
              <a:t>ールアドレス</a:t>
            </a:r>
            <a:r>
              <a:rPr lang="ja-JP" sz="1800" b="1" dirty="0">
                <a:solidFill>
                  <a:schemeClr val="dk1"/>
                </a:solidFill>
                <a:latin typeface="Meiryo"/>
                <a:ea typeface="Meiryo"/>
                <a:cs typeface="Meiryo"/>
                <a:sym typeface="Meiryo"/>
              </a:rPr>
              <a:t>・</a:t>
            </a:r>
            <a:endParaRPr lang="en-US" altLang="ja-JP" sz="1800" b="1" dirty="0">
              <a:solidFill>
                <a:schemeClr val="dk1"/>
              </a:solidFill>
              <a:latin typeface="Meiryo"/>
              <a:ea typeface="Meiryo"/>
              <a:cs typeface="Meiryo"/>
              <a:sym typeface="Meiryo"/>
            </a:endParaRPr>
          </a:p>
          <a:p>
            <a:pPr marL="9525" marR="4343" lvl="0" algn="l" rtl="0">
              <a:lnSpc>
                <a:spcPct val="100000"/>
              </a:lnSpc>
              <a:spcBef>
                <a:spcPts val="85"/>
              </a:spcBef>
              <a:spcAft>
                <a:spcPts val="0"/>
              </a:spcAft>
              <a:buClr>
                <a:srgbClr val="000000"/>
              </a:buClr>
              <a:buSzPts val="2400"/>
              <a:buFont typeface="Arial"/>
              <a:buNone/>
              <a:tabLst>
                <a:tab pos="347663" algn="l"/>
              </a:tabLst>
            </a:pPr>
            <a:r>
              <a:rPr lang="en-US" altLang="ja-JP" sz="1800" b="1" i="0" u="none" strike="noStrike" cap="none" dirty="0">
                <a:solidFill>
                  <a:schemeClr val="dk1"/>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パスワードを入力</a:t>
            </a:r>
            <a:endParaRPr sz="1800" b="1" i="0" u="none" strike="noStrike" cap="none" dirty="0">
              <a:solidFill>
                <a:schemeClr val="dk1"/>
              </a:solidFill>
              <a:latin typeface="Meiryo"/>
              <a:ea typeface="Meiryo"/>
              <a:cs typeface="Meiryo"/>
              <a:sym typeface="Meiryo"/>
            </a:endParaRPr>
          </a:p>
          <a:p>
            <a:pPr marL="9525" marR="4344" lvl="0" algn="l" rtl="0">
              <a:lnSpc>
                <a:spcPct val="100000"/>
              </a:lnSpc>
              <a:spcBef>
                <a:spcPts val="85"/>
              </a:spcBef>
              <a:spcAft>
                <a:spcPts val="0"/>
              </a:spcAft>
              <a:buClr>
                <a:srgbClr val="000000"/>
              </a:buClr>
              <a:buSzPts val="2400"/>
              <a:buFont typeface="Arial"/>
              <a:buNone/>
              <a:tabLst>
                <a:tab pos="347663" algn="l"/>
              </a:tabLst>
            </a:pPr>
            <a:r>
              <a:rPr lang="ja-JP" sz="2400" b="1" i="0" u="none" strike="noStrike" cap="none">
                <a:solidFill>
                  <a:srgbClr val="009650"/>
                </a:solidFill>
                <a:latin typeface="Meiryo"/>
                <a:ea typeface="Meiryo"/>
                <a:cs typeface="Meiryo"/>
                <a:sym typeface="Meiryo"/>
              </a:rPr>
              <a:t>❸</a:t>
            </a:r>
            <a:r>
              <a:rPr lang="en-US" altLang="ja-JP" sz="2400" b="1" i="0" u="none" strike="noStrike" cap="none">
                <a:solidFill>
                  <a:srgbClr val="009650"/>
                </a:solidFill>
                <a:latin typeface="Meiryo"/>
                <a:ea typeface="Meiryo"/>
                <a:cs typeface="Meiryo"/>
                <a:sym typeface="Meiryo"/>
              </a:rPr>
              <a:t>	</a:t>
            </a:r>
            <a:r>
              <a:rPr lang="en-US" altLang="ja-JP" sz="1800" b="1" i="0" u="none" strike="noStrike" cap="none">
                <a:solidFill>
                  <a:schemeClr val="dk1"/>
                </a:solidFill>
                <a:latin typeface="Meiryo"/>
                <a:ea typeface="Meiryo"/>
                <a:cs typeface="Meiryo"/>
                <a:sym typeface="Meiryo"/>
              </a:rPr>
              <a:t>｢</a:t>
            </a:r>
            <a:r>
              <a:rPr lang="ja-JP" sz="1800" b="1" i="0" u="none" strike="noStrike" cap="none">
                <a:solidFill>
                  <a:schemeClr val="dk1"/>
                </a:solidFill>
                <a:latin typeface="Meiryo"/>
                <a:ea typeface="Meiryo"/>
                <a:cs typeface="Meiryo"/>
                <a:sym typeface="Meiryo"/>
              </a:rPr>
              <a:t>同意</a:t>
            </a:r>
            <a:r>
              <a:rPr lang="ja-JP" sz="1800" b="1" i="0" u="none" strike="noStrike" cap="none" dirty="0">
                <a:solidFill>
                  <a:schemeClr val="dk1"/>
                </a:solidFill>
                <a:latin typeface="Meiryo"/>
                <a:ea typeface="Meiryo"/>
                <a:cs typeface="Meiryo"/>
                <a:sym typeface="Meiryo"/>
              </a:rPr>
              <a:t>して登録する</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　</a:t>
            </a:r>
            <a:r>
              <a:rPr lang="en-US" altLang="ja-JP" sz="1800" b="1" dirty="0">
                <a:solidFill>
                  <a:schemeClr val="dk1"/>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をタップ</a:t>
            </a:r>
            <a:endParaRPr sz="1800" b="1" i="0" u="none" strike="noStrike" cap="none" dirty="0">
              <a:solidFill>
                <a:schemeClr val="dk1"/>
              </a:solidFill>
              <a:latin typeface="Meiryo"/>
              <a:ea typeface="Meiryo"/>
              <a:cs typeface="Meiryo"/>
              <a:sym typeface="Meiryo"/>
            </a:endParaRPr>
          </a:p>
          <a:p>
            <a:pPr marL="9525" marR="4343" lvl="0" algn="l" rtl="0">
              <a:lnSpc>
                <a:spcPct val="100000"/>
              </a:lnSpc>
              <a:spcBef>
                <a:spcPts val="85"/>
              </a:spcBef>
              <a:spcAft>
                <a:spcPts val="0"/>
              </a:spcAft>
              <a:buClr>
                <a:srgbClr val="000000"/>
              </a:buClr>
              <a:buSzPts val="2400"/>
              <a:buFont typeface="Arial"/>
              <a:buNone/>
              <a:tabLst>
                <a:tab pos="347663" algn="l"/>
              </a:tabLst>
            </a:pPr>
            <a:r>
              <a:rPr lang="ja-JP" sz="2400" b="1" i="0" u="none" strike="noStrike" cap="none" dirty="0">
                <a:solidFill>
                  <a:srgbClr val="009650"/>
                </a:solidFill>
                <a:latin typeface="Meiryo"/>
                <a:ea typeface="Meiryo"/>
                <a:cs typeface="Meiryo"/>
                <a:sym typeface="Meiryo"/>
              </a:rPr>
              <a:t>❹</a:t>
            </a:r>
            <a:r>
              <a:rPr lang="en-US" altLang="ja-JP" sz="2400" b="1" i="0" u="none" strike="noStrike" cap="none" dirty="0">
                <a:solidFill>
                  <a:srgbClr val="009650"/>
                </a:solidFill>
                <a:latin typeface="Meiryo"/>
                <a:ea typeface="Meiryo"/>
                <a:cs typeface="Meiryo"/>
                <a:sym typeface="Meiryo"/>
              </a:rPr>
              <a:t>	</a:t>
            </a:r>
            <a:r>
              <a:rPr lang="ja-JP" altLang="en-US" sz="1800" b="1" i="0" strike="noStrike" cap="none" dirty="0">
                <a:solidFill>
                  <a:schemeClr val="tx1"/>
                </a:solidFill>
                <a:latin typeface="Meiryo"/>
                <a:ea typeface="Meiryo"/>
                <a:cs typeface="Meiryo"/>
                <a:sym typeface="Meiryo"/>
              </a:rPr>
              <a:t>❷</a:t>
            </a:r>
            <a:r>
              <a:rPr lang="ja-JP" altLang="en-US" sz="1800" b="1" dirty="0">
                <a:solidFill>
                  <a:schemeClr val="tx1"/>
                </a:solidFill>
                <a:latin typeface="Meiryo"/>
                <a:ea typeface="Meiryo"/>
                <a:cs typeface="Meiryo"/>
                <a:sym typeface="Meiryo"/>
              </a:rPr>
              <a:t>で設定した</a:t>
            </a:r>
            <a:endParaRPr lang="en-US" altLang="ja-JP" sz="1800" b="1" dirty="0">
              <a:solidFill>
                <a:schemeClr val="tx1"/>
              </a:solidFill>
              <a:latin typeface="Meiryo"/>
              <a:ea typeface="Meiryo"/>
              <a:cs typeface="Meiryo"/>
              <a:sym typeface="Meiryo"/>
            </a:endParaRPr>
          </a:p>
          <a:p>
            <a:pPr marL="9525" marR="4343" lvl="0" algn="l" rtl="0">
              <a:lnSpc>
                <a:spcPct val="100000"/>
              </a:lnSpc>
              <a:spcBef>
                <a:spcPts val="85"/>
              </a:spcBef>
              <a:spcAft>
                <a:spcPts val="0"/>
              </a:spcAft>
              <a:buClr>
                <a:srgbClr val="000000"/>
              </a:buClr>
              <a:buSzPts val="2400"/>
              <a:buFont typeface="Arial"/>
              <a:buNone/>
              <a:tabLst>
                <a:tab pos="347663" algn="l"/>
              </a:tabLst>
            </a:pPr>
            <a:r>
              <a:rPr lang="en-US" altLang="ja-JP" sz="1800" b="1" dirty="0">
                <a:solidFill>
                  <a:schemeClr val="tx1"/>
                </a:solidFill>
                <a:latin typeface="Meiryo"/>
                <a:ea typeface="Meiryo"/>
                <a:cs typeface="Meiryo"/>
                <a:sym typeface="Meiryo"/>
              </a:rPr>
              <a:t>	</a:t>
            </a:r>
            <a:r>
              <a:rPr lang="ja-JP" sz="1800" b="1" dirty="0">
                <a:solidFill>
                  <a:schemeClr val="dk1"/>
                </a:solidFill>
                <a:latin typeface="Meiryo"/>
                <a:ea typeface="Meiryo"/>
                <a:cs typeface="Meiryo"/>
                <a:sym typeface="Meiryo"/>
              </a:rPr>
              <a:t>アドレス宛に</a:t>
            </a:r>
            <a:endParaRPr lang="en-US" altLang="ja-JP" sz="1800" b="1" dirty="0">
              <a:solidFill>
                <a:schemeClr val="dk1"/>
              </a:solidFill>
              <a:latin typeface="Meiryo"/>
              <a:ea typeface="Meiryo"/>
              <a:cs typeface="Meiryo"/>
              <a:sym typeface="Meiryo"/>
            </a:endParaRPr>
          </a:p>
          <a:p>
            <a:pPr marL="9525" marR="4343" lvl="0" algn="l" rtl="0">
              <a:lnSpc>
                <a:spcPct val="100000"/>
              </a:lnSpc>
              <a:spcBef>
                <a:spcPts val="85"/>
              </a:spcBef>
              <a:spcAft>
                <a:spcPts val="0"/>
              </a:spcAft>
              <a:buClr>
                <a:srgbClr val="000000"/>
              </a:buClr>
              <a:buSzPts val="2400"/>
              <a:buFont typeface="Arial"/>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送信された</a:t>
            </a:r>
            <a:r>
              <a:rPr lang="ja-JP" sz="1800" b="1" i="0" u="none" strike="noStrike" cap="none" dirty="0">
                <a:solidFill>
                  <a:schemeClr val="dk1"/>
                </a:solidFill>
                <a:latin typeface="Meiryo"/>
                <a:ea typeface="Meiryo"/>
                <a:cs typeface="Meiryo"/>
                <a:sym typeface="Meiryo"/>
              </a:rPr>
              <a:t>メールを</a:t>
            </a:r>
            <a:endParaRPr lang="en-US" altLang="ja-JP" sz="1800" b="1" i="0" u="none" strike="noStrike" cap="none" dirty="0">
              <a:solidFill>
                <a:schemeClr val="dk1"/>
              </a:solidFill>
              <a:latin typeface="Meiryo"/>
              <a:ea typeface="Meiryo"/>
              <a:cs typeface="Meiryo"/>
              <a:sym typeface="Meiryo"/>
            </a:endParaRPr>
          </a:p>
          <a:p>
            <a:pPr marL="9525" marR="4343" lvl="0" algn="l" rtl="0">
              <a:lnSpc>
                <a:spcPct val="100000"/>
              </a:lnSpc>
              <a:spcBef>
                <a:spcPts val="85"/>
              </a:spcBef>
              <a:spcAft>
                <a:spcPts val="0"/>
              </a:spcAft>
              <a:buClr>
                <a:srgbClr val="000000"/>
              </a:buClr>
              <a:buSzPts val="2400"/>
              <a:buFont typeface="Arial"/>
              <a:buNone/>
              <a:tabLst>
                <a:tab pos="347663" algn="l"/>
              </a:tabLst>
            </a:pPr>
            <a:r>
              <a:rPr lang="en-US" altLang="ja-JP" sz="1800" b="1" dirty="0">
                <a:solidFill>
                  <a:schemeClr val="dk1"/>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開く</a:t>
            </a:r>
            <a:endParaRPr sz="1800" b="1" i="0" u="none" strike="noStrike" cap="none" dirty="0">
              <a:solidFill>
                <a:schemeClr val="dk1"/>
              </a:solidFill>
              <a:latin typeface="Meiryo"/>
              <a:ea typeface="Meiryo"/>
              <a:cs typeface="Meiryo"/>
              <a:sym typeface="Meiryo"/>
            </a:endParaRPr>
          </a:p>
        </p:txBody>
      </p:sp>
      <p:sp>
        <p:nvSpPr>
          <p:cNvPr id="86" name="Google Shape;86;p4"/>
          <p:cNvSpPr/>
          <p:nvPr/>
        </p:nvSpPr>
        <p:spPr>
          <a:xfrm>
            <a:off x="3009011" y="3717197"/>
            <a:ext cx="1512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pic>
        <p:nvPicPr>
          <p:cNvPr id="103" name="Google Shape;103;p4" descr="新規登録画面でメールアドレスとパスワードを入力し「同意して登録する」をタップしている画像"/>
          <p:cNvPicPr preferRelativeResize="0"/>
          <p:nvPr/>
        </p:nvPicPr>
        <p:blipFill>
          <a:blip r:embed="rId5">
            <a:alphaModFix/>
          </a:blip>
          <a:stretch>
            <a:fillRect/>
          </a:stretch>
        </p:blipFill>
        <p:spPr>
          <a:xfrm>
            <a:off x="4942076" y="1993514"/>
            <a:ext cx="1619076" cy="3505794"/>
          </a:xfrm>
          <a:prstGeom prst="rect">
            <a:avLst/>
          </a:prstGeom>
          <a:noFill/>
          <a:ln w="9525">
            <a:solidFill>
              <a:schemeClr val="tx1">
                <a:lumMod val="50000"/>
                <a:lumOff val="50000"/>
              </a:schemeClr>
            </a:solidFill>
          </a:ln>
        </p:spPr>
      </p:pic>
      <p:sp>
        <p:nvSpPr>
          <p:cNvPr id="104" name="Google Shape;104;p4"/>
          <p:cNvSpPr/>
          <p:nvPr/>
        </p:nvSpPr>
        <p:spPr>
          <a:xfrm>
            <a:off x="4953828" y="2467742"/>
            <a:ext cx="1584000" cy="68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106" name="Google Shape;106;p4"/>
          <p:cNvSpPr/>
          <p:nvPr/>
        </p:nvSpPr>
        <p:spPr>
          <a:xfrm>
            <a:off x="4953828" y="3797774"/>
            <a:ext cx="1584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32"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2</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curonに新規登</a:t>
            </a:r>
            <a:r>
              <a:rPr lang="ja-JP" altLang="ja-JP" sz="3200" spc="-1250" dirty="0">
                <a:latin typeface="Meiryo"/>
                <a:ea typeface="Meiryo"/>
                <a:cs typeface="Meiryo"/>
                <a:sym typeface="Meiryo"/>
              </a:rPr>
              <a:t>録</a:t>
            </a:r>
            <a:r>
              <a:rPr lang="ja-JP" altLang="en-US" sz="3200" b="0" dirty="0">
                <a:sym typeface="Meiryo"/>
              </a:rPr>
              <a:t>［</a:t>
            </a:r>
            <a:r>
              <a:rPr lang="en-US" altLang="ja-JP" sz="3200" dirty="0">
                <a:latin typeface="Meiryo"/>
                <a:ea typeface="Meiryo"/>
                <a:cs typeface="Meiryo"/>
                <a:sym typeface="Meiryo"/>
              </a:rPr>
              <a:t>1</a:t>
            </a:r>
            <a:r>
              <a:rPr lang="ja-JP" altLang="en-US" sz="3200" b="0" dirty="0">
                <a:sym typeface="Meiryo"/>
              </a:rPr>
              <a:t>］</a:t>
            </a:r>
            <a:endParaRPr kumimoji="0" lang="ja-JP" altLang="en-US" sz="3200" b="0" kern="0" dirty="0"/>
          </a:p>
        </p:txBody>
      </p:sp>
      <p:grpSp>
        <p:nvGrpSpPr>
          <p:cNvPr id="34" name="図形グループ 33"/>
          <p:cNvGrpSpPr>
            <a:grpSpLocks noChangeAspect="1"/>
          </p:cNvGrpSpPr>
          <p:nvPr/>
        </p:nvGrpSpPr>
        <p:grpSpPr>
          <a:xfrm>
            <a:off x="4494839" y="3304349"/>
            <a:ext cx="360000" cy="270000"/>
            <a:chOff x="3355262" y="5469690"/>
            <a:chExt cx="720000" cy="540000"/>
          </a:xfrm>
        </p:grpSpPr>
        <p:cxnSp>
          <p:nvCxnSpPr>
            <p:cNvPr id="35" name="カギ線コネクタ 34"/>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7" name="図形グループ 36"/>
          <p:cNvGrpSpPr>
            <a:grpSpLocks noChangeAspect="1"/>
          </p:cNvGrpSpPr>
          <p:nvPr/>
        </p:nvGrpSpPr>
        <p:grpSpPr>
          <a:xfrm>
            <a:off x="6476038" y="3304349"/>
            <a:ext cx="360000" cy="270000"/>
            <a:chOff x="3355262" y="5469690"/>
            <a:chExt cx="720000" cy="540000"/>
          </a:xfrm>
        </p:grpSpPr>
        <p:cxnSp>
          <p:nvCxnSpPr>
            <p:cNvPr id="38" name="カギ線コネクタ 37"/>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40" name="図形グループ 39"/>
          <p:cNvGrpSpPr/>
          <p:nvPr/>
        </p:nvGrpSpPr>
        <p:grpSpPr>
          <a:xfrm>
            <a:off x="6770894" y="1856794"/>
            <a:ext cx="296586" cy="293005"/>
            <a:chOff x="5101121" y="3995693"/>
            <a:chExt cx="296586" cy="293005"/>
          </a:xfrm>
        </p:grpSpPr>
        <p:sp>
          <p:nvSpPr>
            <p:cNvPr id="41" name="円/楕円 40"/>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3" name="図形グループ 42"/>
          <p:cNvGrpSpPr/>
          <p:nvPr/>
        </p:nvGrpSpPr>
        <p:grpSpPr>
          <a:xfrm>
            <a:off x="4803688" y="3657497"/>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6" name="図形グループ 45"/>
          <p:cNvGrpSpPr/>
          <p:nvPr/>
        </p:nvGrpSpPr>
        <p:grpSpPr>
          <a:xfrm>
            <a:off x="4803688" y="2311706"/>
            <a:ext cx="296586" cy="293005"/>
            <a:chOff x="3546641" y="3995693"/>
            <a:chExt cx="296586" cy="293005"/>
          </a:xfrm>
        </p:grpSpPr>
        <p:sp>
          <p:nvSpPr>
            <p:cNvPr id="47" name="円/楕円 4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フリーフォーム 4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9" name="図形グループ 48"/>
          <p:cNvGrpSpPr/>
          <p:nvPr/>
        </p:nvGrpSpPr>
        <p:grpSpPr>
          <a:xfrm>
            <a:off x="2850923" y="3858973"/>
            <a:ext cx="296587" cy="293005"/>
            <a:chOff x="2897417" y="3995693"/>
            <a:chExt cx="296587" cy="293005"/>
          </a:xfrm>
        </p:grpSpPr>
        <p:sp>
          <p:nvSpPr>
            <p:cNvPr id="50" name="円/楕円 4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テキスト ボックス 5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891"/>
        <p:cNvGrpSpPr/>
        <p:nvPr/>
      </p:nvGrpSpPr>
      <p:grpSpPr>
        <a:xfrm>
          <a:off x="0" y="0"/>
          <a:ext cx="0" cy="0"/>
          <a:chOff x="0" y="0"/>
          <a:chExt cx="0" cy="0"/>
        </a:xfrm>
      </p:grpSpPr>
      <p:sp>
        <p:nvSpPr>
          <p:cNvPr id="892" name="Google Shape;892;p25"/>
          <p:cNvSpPr txBox="1"/>
          <p:nvPr/>
        </p:nvSpPr>
        <p:spPr>
          <a:xfrm>
            <a:off x="1780308" y="1930400"/>
            <a:ext cx="6984000" cy="452431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sz="4800" b="1" dirty="0">
                <a:solidFill>
                  <a:srgbClr val="009650"/>
                </a:solidFill>
                <a:latin typeface="Meiryo"/>
                <a:ea typeface="Meiryo"/>
                <a:cs typeface="Meiryo"/>
                <a:sym typeface="Meiryo"/>
              </a:rPr>
              <a:t>ここ</a:t>
            </a:r>
            <a:r>
              <a:rPr lang="ja-JP" sz="4800" b="1">
                <a:solidFill>
                  <a:srgbClr val="009650"/>
                </a:solidFill>
                <a:latin typeface="Meiryo"/>
                <a:ea typeface="Meiryo"/>
                <a:cs typeface="Meiryo"/>
                <a:sym typeface="Meiryo"/>
              </a:rPr>
              <a:t>からは</a:t>
            </a:r>
            <a:r>
              <a:rPr lang="en-US" altLang="ja-JP" sz="4800" b="1">
                <a:solidFill>
                  <a:srgbClr val="009650"/>
                </a:solidFill>
                <a:latin typeface="Meiryo"/>
                <a:ea typeface="Meiryo"/>
                <a:cs typeface="Meiryo"/>
                <a:sym typeface="Meiryo"/>
              </a:rPr>
              <a:t>｢</a:t>
            </a:r>
            <a:r>
              <a:rPr lang="ja-JP" sz="4800" b="1">
                <a:solidFill>
                  <a:srgbClr val="009650"/>
                </a:solidFill>
                <a:latin typeface="Meiryo"/>
                <a:ea typeface="Meiryo"/>
                <a:cs typeface="Meiryo"/>
                <a:sym typeface="Meiryo"/>
              </a:rPr>
              <a:t>再診</a:t>
            </a:r>
            <a:r>
              <a:rPr lang="en-US" altLang="ja-JP" sz="4800" b="1" dirty="0">
                <a:solidFill>
                  <a:srgbClr val="009650"/>
                </a:solidFill>
                <a:latin typeface="Meiryo"/>
                <a:ea typeface="Meiryo"/>
                <a:cs typeface="Meiryo"/>
                <a:sym typeface="Meiryo"/>
              </a:rPr>
              <a:t>｣</a:t>
            </a:r>
            <a:r>
              <a:rPr lang="ja-JP" sz="4800" b="1" dirty="0">
                <a:solidFill>
                  <a:srgbClr val="009650"/>
                </a:solidFill>
                <a:latin typeface="Meiryo"/>
                <a:ea typeface="Meiryo"/>
                <a:cs typeface="Meiryo"/>
                <a:sym typeface="Meiryo"/>
              </a:rPr>
              <a:t>*の</a:t>
            </a:r>
            <a:endParaRPr sz="4800" b="1" dirty="0">
              <a:solidFill>
                <a:srgbClr val="009650"/>
              </a:solidFill>
              <a:latin typeface="Meiryo"/>
              <a:ea typeface="Meiryo"/>
              <a:cs typeface="Meiryo"/>
              <a:sym typeface="Meiryo"/>
            </a:endParaRPr>
          </a:p>
          <a:p>
            <a:pPr marL="0" marR="0" lvl="0" indent="0" algn="l" rtl="0">
              <a:spcBef>
                <a:spcPts val="0"/>
              </a:spcBef>
              <a:spcAft>
                <a:spcPts val="0"/>
              </a:spcAft>
              <a:buNone/>
            </a:pPr>
            <a:r>
              <a:rPr lang="ja-JP" sz="4800" b="1" dirty="0">
                <a:solidFill>
                  <a:srgbClr val="009650"/>
                </a:solidFill>
                <a:latin typeface="Meiryo"/>
                <a:ea typeface="Meiryo"/>
                <a:cs typeface="Meiryo"/>
                <a:sym typeface="Meiryo"/>
              </a:rPr>
              <a:t>場合のフロー説明です</a:t>
            </a:r>
            <a:endParaRPr sz="4800" b="1" dirty="0">
              <a:solidFill>
                <a:srgbClr val="009650"/>
              </a:solidFill>
              <a:latin typeface="Meiryo"/>
              <a:ea typeface="Meiryo"/>
              <a:cs typeface="Meiryo"/>
              <a:sym typeface="Meiryo"/>
            </a:endParaRPr>
          </a:p>
          <a:p>
            <a:pPr marL="0" marR="0" lvl="0" indent="0" algn="l" rtl="0">
              <a:spcBef>
                <a:spcPts val="0"/>
              </a:spcBef>
              <a:spcAft>
                <a:spcPts val="0"/>
              </a:spcAft>
              <a:buNone/>
            </a:pPr>
            <a:endParaRPr sz="4800" b="1" dirty="0">
              <a:solidFill>
                <a:srgbClr val="009650"/>
              </a:solidFill>
              <a:latin typeface="Meiryo"/>
              <a:ea typeface="Meiryo"/>
              <a:cs typeface="Meiryo"/>
              <a:sym typeface="Meiryo"/>
            </a:endParaRPr>
          </a:p>
          <a:p>
            <a:pPr lvl="0">
              <a:tabLst>
                <a:tab pos="355600" algn="l"/>
              </a:tabLst>
            </a:pPr>
            <a:r>
              <a:rPr lang="ja-JP" altLang="en-US" sz="2400" b="1" dirty="0">
                <a:solidFill>
                  <a:srgbClr val="009650"/>
                </a:solidFill>
                <a:latin typeface="Meiryo"/>
                <a:ea typeface="Meiryo"/>
                <a:cs typeface="Meiryo"/>
                <a:sym typeface="Meiryo"/>
              </a:rPr>
              <a:t>＊</a:t>
            </a:r>
            <a:r>
              <a:rPr lang="en-US" altLang="ja-JP" sz="2400" b="1" dirty="0">
                <a:solidFill>
                  <a:srgbClr val="009650"/>
                </a:solidFill>
                <a:latin typeface="Meiryo"/>
                <a:ea typeface="Meiryo"/>
                <a:cs typeface="Meiryo"/>
                <a:sym typeface="Meiryo"/>
              </a:rPr>
              <a:t>	</a:t>
            </a:r>
            <a:r>
              <a:rPr lang="ja-JP" sz="2400" b="1" dirty="0">
                <a:solidFill>
                  <a:srgbClr val="009650"/>
                </a:solidFill>
                <a:latin typeface="Meiryo"/>
                <a:ea typeface="Meiryo"/>
                <a:cs typeface="Meiryo"/>
                <a:sym typeface="Meiryo"/>
              </a:rPr>
              <a:t>以前かかったことのある医療機関で</a:t>
            </a:r>
            <a:endParaRPr sz="2400" b="1" dirty="0">
              <a:solidFill>
                <a:srgbClr val="009650"/>
              </a:solidFill>
              <a:latin typeface="Meiryo"/>
              <a:ea typeface="Meiryo"/>
              <a:cs typeface="Meiryo"/>
              <a:sym typeface="Meiryo"/>
            </a:endParaRPr>
          </a:p>
          <a:p>
            <a:pPr marR="0" lvl="0" algn="l" rtl="0">
              <a:spcBef>
                <a:spcPts val="0"/>
              </a:spcBef>
              <a:spcAft>
                <a:spcPts val="0"/>
              </a:spcAft>
              <a:buNone/>
              <a:tabLst>
                <a:tab pos="355600" algn="l"/>
              </a:tabLst>
            </a:pPr>
            <a:r>
              <a:rPr lang="en-US" altLang="ja-JP" sz="2400" b="1" dirty="0">
                <a:solidFill>
                  <a:srgbClr val="009650"/>
                </a:solidFill>
                <a:latin typeface="Meiryo"/>
                <a:ea typeface="Meiryo"/>
                <a:cs typeface="Meiryo"/>
                <a:sym typeface="Meiryo"/>
              </a:rPr>
              <a:t>	</a:t>
            </a:r>
            <a:r>
              <a:rPr lang="ja-JP" sz="2400" b="1" dirty="0">
                <a:solidFill>
                  <a:srgbClr val="009650"/>
                </a:solidFill>
                <a:latin typeface="Meiryo"/>
                <a:ea typeface="Meiryo"/>
                <a:cs typeface="Meiryo"/>
                <a:sym typeface="Meiryo"/>
              </a:rPr>
              <a:t>診療を受ける場合です。</a:t>
            </a:r>
            <a:endParaRPr sz="2400" b="1" dirty="0">
              <a:solidFill>
                <a:srgbClr val="009650"/>
              </a:solidFill>
              <a:latin typeface="Meiryo"/>
              <a:ea typeface="Meiryo"/>
              <a:cs typeface="Meiryo"/>
              <a:sym typeface="Meiryo"/>
            </a:endParaRPr>
          </a:p>
          <a:p>
            <a:pPr marL="0" marR="0" lvl="0" indent="0" algn="l" rtl="0">
              <a:spcBef>
                <a:spcPts val="0"/>
              </a:spcBef>
              <a:spcAft>
                <a:spcPts val="0"/>
              </a:spcAft>
              <a:buNone/>
            </a:pPr>
            <a:endParaRPr sz="4800" b="1" dirty="0">
              <a:solidFill>
                <a:srgbClr val="009650"/>
              </a:solidFill>
              <a:latin typeface="Meiryo"/>
              <a:ea typeface="Meiryo"/>
              <a:cs typeface="Meiryo"/>
              <a:sym typeface="Meiryo"/>
            </a:endParaRPr>
          </a:p>
          <a:p>
            <a:pPr marL="0" marR="0" lvl="0" indent="0" algn="l" rtl="0">
              <a:spcBef>
                <a:spcPts val="0"/>
              </a:spcBef>
              <a:spcAft>
                <a:spcPts val="0"/>
              </a:spcAft>
              <a:buNone/>
            </a:pPr>
            <a:endParaRPr sz="4800" b="1" dirty="0">
              <a:solidFill>
                <a:srgbClr val="00B050"/>
              </a:solidFill>
              <a:latin typeface="Meiryo"/>
              <a:ea typeface="Meiryo"/>
              <a:cs typeface="Meiryo"/>
              <a:sym typeface="Meiryo"/>
            </a:endParaRPr>
          </a:p>
        </p:txBody>
      </p:sp>
      <p:sp>
        <p:nvSpPr>
          <p:cNvPr id="893" name="Google Shape;893;p25" descr="「クロン」アプリのアイコンの画像"/>
          <p:cNvSpPr/>
          <p:nvPr/>
        </p:nvSpPr>
        <p:spPr>
          <a:xfrm>
            <a:off x="533400" y="1981200"/>
            <a:ext cx="952800" cy="900000"/>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539"/>
              <a:buFont typeface="Arial"/>
              <a:buNone/>
            </a:pPr>
            <a:endParaRPr sz="1539" b="0" i="0" u="none" strike="noStrike" cap="none">
              <a:solidFill>
                <a:schemeClr val="dk1"/>
              </a:solidFill>
              <a:latin typeface="Calibri"/>
              <a:ea typeface="Calibri"/>
              <a:cs typeface="Calibri"/>
              <a:sym typeface="Calibri"/>
            </a:endParaRPr>
          </a:p>
        </p:txBody>
      </p:sp>
      <p:cxnSp>
        <p:nvCxnSpPr>
          <p:cNvPr id="894" name="Google Shape;894;p25"/>
          <p:cNvCxnSpPr/>
          <p:nvPr/>
        </p:nvCxnSpPr>
        <p:spPr>
          <a:xfrm>
            <a:off x="1690688" y="192088"/>
            <a:ext cx="0" cy="6300000"/>
          </a:xfrm>
          <a:prstGeom prst="straightConnector1">
            <a:avLst/>
          </a:prstGeom>
          <a:noFill/>
          <a:ln w="19050" cap="flat" cmpd="sng">
            <a:solidFill>
              <a:srgbClr val="009650"/>
            </a:solidFill>
            <a:prstDash val="solid"/>
            <a:round/>
            <a:headEnd type="none" w="sm" len="sm"/>
            <a:tailEnd type="none" w="sm" len="sm"/>
          </a:ln>
        </p:spPr>
      </p:cxn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899"/>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AC4C723C-2CAA-4779-953E-9AAE6E438E37}"/>
              </a:ext>
            </a:extLst>
          </p:cNvPr>
          <p:cNvGraphicFramePr>
            <a:graphicFrameLocks noChangeAspect="1"/>
          </p:cNvGraphicFramePr>
          <p:nvPr>
            <p:custDataLst>
              <p:tags r:id="rId2"/>
            </p:custDataLst>
            <p:extLst>
              <p:ext uri="{D42A27DB-BD31-4B8C-83A1-F6EECF244321}">
                <p14:modId xmlns:p14="http://schemas.microsoft.com/office/powerpoint/2010/main" val="4053958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9"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01" name="Google Shape;901;p26"/>
          <p:cNvSpPr txBox="1"/>
          <p:nvPr/>
        </p:nvSpPr>
        <p:spPr>
          <a:xfrm>
            <a:off x="2592528" y="1622692"/>
            <a:ext cx="1224000" cy="225900"/>
          </a:xfrm>
          <a:prstGeom prst="rect">
            <a:avLst/>
          </a:prstGeom>
          <a:noFill/>
          <a:ln>
            <a:noFill/>
          </a:ln>
        </p:spPr>
        <p:txBody>
          <a:bodyPr spcFirstLastPara="1" wrap="square" lIns="0" tIns="10300" rIns="0" bIns="0" anchor="t" anchorCtr="0">
            <a:spAutoFit/>
          </a:bodyPr>
          <a:lstStyle/>
          <a:p>
            <a:pPr marL="10859" marR="0" lvl="0" indent="0" algn="l" rtl="0">
              <a:lnSpc>
                <a:spcPct val="100000"/>
              </a:lnSpc>
              <a:spcBef>
                <a:spcPts val="0"/>
              </a:spcBef>
              <a:spcAft>
                <a:spcPts val="0"/>
              </a:spcAft>
              <a:buClr>
                <a:srgbClr val="000000"/>
              </a:buClr>
              <a:buSzPts val="1400"/>
              <a:buFont typeface="Arial"/>
              <a:buNone/>
            </a:pPr>
            <a:r>
              <a:rPr lang="ja-JP" b="1">
                <a:solidFill>
                  <a:srgbClr val="009650"/>
                </a:solidFill>
                <a:latin typeface="Meiryo"/>
                <a:ea typeface="Meiryo"/>
                <a:cs typeface="Meiryo"/>
                <a:sym typeface="Meiryo"/>
              </a:rPr>
              <a:t>メニュー選択</a:t>
            </a:r>
            <a:endParaRPr sz="1400" b="1" i="0" u="none" strike="noStrike" cap="none">
              <a:solidFill>
                <a:srgbClr val="009650"/>
              </a:solidFill>
              <a:latin typeface="Meiryo"/>
              <a:ea typeface="Meiryo"/>
              <a:cs typeface="Meiryo"/>
              <a:sym typeface="Meiryo"/>
            </a:endParaRPr>
          </a:p>
        </p:txBody>
      </p:sp>
      <p:sp>
        <p:nvSpPr>
          <p:cNvPr id="903" name="Google Shape;903;p26"/>
          <p:cNvSpPr txBox="1"/>
          <p:nvPr/>
        </p:nvSpPr>
        <p:spPr>
          <a:xfrm>
            <a:off x="324464" y="1914832"/>
            <a:ext cx="2202900" cy="1928077"/>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0838" algn="l"/>
              </a:tabLst>
            </a:pPr>
            <a:r>
              <a:rPr lang="ja-JP" sz="2400" b="1" i="0" u="none" strike="noStrike" cap="none" dirty="0">
                <a:solidFill>
                  <a:srgbClr val="009650"/>
                </a:solidFill>
                <a:latin typeface="Meiryo"/>
                <a:ea typeface="Meiryo"/>
                <a:cs typeface="Meiryo"/>
                <a:sym typeface="Meiryo"/>
              </a:rPr>
              <a:t>❶</a:t>
            </a:r>
            <a:r>
              <a:rPr lang="en-US" altLang="ja-JP" sz="2400" b="1" i="0" u="none" strike="noStrike" cap="none"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受診したい</a:t>
            </a:r>
            <a:endParaRPr lang="en-US" altLang="ja-JP" sz="1800" b="1" dirty="0">
              <a:solidFill>
                <a:schemeClr val="dk1"/>
              </a:solidFill>
              <a:latin typeface="Meiryo"/>
              <a:ea typeface="Meiryo"/>
              <a:cs typeface="Meiryo"/>
              <a:sym typeface="Meiryo"/>
            </a:endParaRPr>
          </a:p>
          <a:p>
            <a:pPr marL="9525" marR="4343" lvl="0" algn="l" rtl="0">
              <a:spcBef>
                <a:spcPts val="0"/>
              </a:spcBef>
              <a:spcAft>
                <a:spcPts val="0"/>
              </a:spcAft>
              <a:buNone/>
              <a:tabLst>
                <a:tab pos="350838"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医療機関を表示</a:t>
            </a:r>
            <a:endParaRPr sz="1800" b="1" i="0" u="none" strike="noStrike" cap="none" dirty="0">
              <a:solidFill>
                <a:schemeClr val="dk1"/>
              </a:solidFill>
              <a:latin typeface="Meiryo"/>
              <a:ea typeface="Meiryo"/>
              <a:cs typeface="Meiryo"/>
              <a:sym typeface="Meiryo"/>
            </a:endParaRPr>
          </a:p>
          <a:p>
            <a:pPr marL="9525" marR="4343" lvl="0" algn="l" rtl="0">
              <a:spcBef>
                <a:spcPts val="85"/>
              </a:spcBef>
              <a:spcAft>
                <a:spcPts val="0"/>
              </a:spcAft>
              <a:buNone/>
              <a:tabLst>
                <a:tab pos="350838"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r>
              <a:rPr lang="en-US" altLang="ja-JP" sz="1800" b="1" i="0" u="none" strike="noStrike" cap="none"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再診</a:t>
            </a:r>
            <a:r>
              <a:rPr lang="en-US" altLang="ja-JP" sz="1800" b="1"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タップ</a:t>
            </a:r>
            <a:endParaRPr sz="1800" b="1" i="0" u="none" strike="noStrike" cap="none"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50838" algn="l"/>
              </a:tabLst>
            </a:pPr>
            <a:r>
              <a:rPr lang="ja-JP" sz="2400" b="1" i="0" u="none" strike="noStrike" cap="none" dirty="0">
                <a:solidFill>
                  <a:srgbClr val="009650"/>
                </a:solidFill>
                <a:latin typeface="Meiryo"/>
                <a:ea typeface="Meiryo"/>
                <a:cs typeface="Meiryo"/>
                <a:sym typeface="Meiryo"/>
              </a:rPr>
              <a:t>❸</a:t>
            </a:r>
            <a:r>
              <a:rPr lang="en-US" altLang="ja-JP" sz="2400" b="1" i="0" u="none" strike="noStrike" cap="none" dirty="0">
                <a:solidFill>
                  <a:srgbClr val="009650"/>
                </a:solidFill>
                <a:latin typeface="Meiryo"/>
                <a:ea typeface="Meiryo"/>
                <a:cs typeface="Meiryo"/>
                <a:sym typeface="Meiryo"/>
              </a:rPr>
              <a:t>	</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予約可能日時を</a:t>
            </a:r>
            <a:endParaRPr lang="en-US" altLang="ja-JP" sz="1800" b="1"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50838"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見る</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タップ</a:t>
            </a:r>
            <a:endParaRPr sz="1800" b="1" i="0" u="none" strike="noStrike" cap="none" dirty="0">
              <a:solidFill>
                <a:schemeClr val="dk1"/>
              </a:solidFill>
              <a:latin typeface="Meiryo"/>
              <a:ea typeface="Meiryo"/>
              <a:cs typeface="Meiryo"/>
              <a:sym typeface="Meiryo"/>
            </a:endParaRPr>
          </a:p>
          <a:p>
            <a:pPr marL="9525" marR="4343" lvl="0" algn="l" rtl="0">
              <a:spcBef>
                <a:spcPts val="85"/>
              </a:spcBef>
              <a:spcAft>
                <a:spcPts val="0"/>
              </a:spcAft>
              <a:buNone/>
              <a:tabLst>
                <a:tab pos="350838" algn="l"/>
              </a:tabLst>
            </a:pPr>
            <a:endParaRPr sz="1400" b="0" i="0" u="none" strike="noStrike" cap="none" dirty="0">
              <a:solidFill>
                <a:srgbClr val="000000"/>
              </a:solidFill>
              <a:latin typeface="Arial"/>
              <a:ea typeface="Arial"/>
              <a:cs typeface="Arial"/>
              <a:sym typeface="Arial"/>
            </a:endParaRPr>
          </a:p>
        </p:txBody>
      </p:sp>
      <p:pic>
        <p:nvPicPr>
          <p:cNvPr id="913" name="Google Shape;913;p26" descr="受診したい医療機関の画面の画像"/>
          <p:cNvPicPr preferRelativeResize="0">
            <a:picLocks noChangeAspect="1"/>
          </p:cNvPicPr>
          <p:nvPr/>
        </p:nvPicPr>
        <p:blipFill>
          <a:blip r:embed="rId7">
            <a:alphaModFix/>
          </a:blip>
          <a:stretch>
            <a:fillRect/>
          </a:stretch>
        </p:blipFill>
        <p:spPr>
          <a:xfrm>
            <a:off x="2606024" y="1997383"/>
            <a:ext cx="1620000" cy="3494527"/>
          </a:xfrm>
          <a:prstGeom prst="rect">
            <a:avLst/>
          </a:prstGeom>
          <a:noFill/>
          <a:ln w="9525">
            <a:solidFill>
              <a:schemeClr val="tx1">
                <a:lumMod val="50000"/>
                <a:lumOff val="50000"/>
              </a:schemeClr>
            </a:solidFill>
          </a:ln>
        </p:spPr>
      </p:pic>
      <p:pic>
        <p:nvPicPr>
          <p:cNvPr id="914" name="Google Shape;914;p26" descr="医療機関の画面で「再診」をタップしている画像"/>
          <p:cNvPicPr preferRelativeResize="0">
            <a:picLocks noChangeAspect="1"/>
          </p:cNvPicPr>
          <p:nvPr/>
        </p:nvPicPr>
        <p:blipFill>
          <a:blip r:embed="rId7">
            <a:alphaModFix/>
          </a:blip>
          <a:stretch>
            <a:fillRect/>
          </a:stretch>
        </p:blipFill>
        <p:spPr>
          <a:xfrm>
            <a:off x="4757311" y="1997383"/>
            <a:ext cx="1620000" cy="3494527"/>
          </a:xfrm>
          <a:prstGeom prst="rect">
            <a:avLst/>
          </a:prstGeom>
          <a:noFill/>
          <a:ln w="9525">
            <a:solidFill>
              <a:schemeClr val="tx1">
                <a:lumMod val="50000"/>
                <a:lumOff val="50000"/>
              </a:schemeClr>
            </a:solidFill>
          </a:ln>
        </p:spPr>
      </p:pic>
      <p:pic>
        <p:nvPicPr>
          <p:cNvPr id="915" name="Google Shape;915;p26" descr="医療機関の画面で「予約可能日時を見る」をタップしている画像"/>
          <p:cNvPicPr preferRelativeResize="0">
            <a:picLocks noChangeAspect="1"/>
          </p:cNvPicPr>
          <p:nvPr/>
        </p:nvPicPr>
        <p:blipFill>
          <a:blip r:embed="rId8">
            <a:alphaModFix/>
          </a:blip>
          <a:stretch>
            <a:fillRect/>
          </a:stretch>
        </p:blipFill>
        <p:spPr>
          <a:xfrm>
            <a:off x="6918410" y="1997383"/>
            <a:ext cx="1614361" cy="34956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917" name="Google Shape;917;p26"/>
          <p:cNvSpPr/>
          <p:nvPr/>
        </p:nvSpPr>
        <p:spPr>
          <a:xfrm>
            <a:off x="6947905" y="5023506"/>
            <a:ext cx="1548000"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918" name="Google Shape;918;p26"/>
          <p:cNvSpPr/>
          <p:nvPr/>
        </p:nvSpPr>
        <p:spPr>
          <a:xfrm>
            <a:off x="4789487" y="3619680"/>
            <a:ext cx="1548000" cy="50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920" name="Google Shape;920;p26"/>
          <p:cNvSpPr txBox="1"/>
          <p:nvPr/>
        </p:nvSpPr>
        <p:spPr>
          <a:xfrm>
            <a:off x="7046250" y="4424400"/>
            <a:ext cx="453900" cy="461700"/>
          </a:xfrm>
          <a:prstGeom prst="rect">
            <a:avLst/>
          </a:prstGeom>
          <a:noFill/>
          <a:ln>
            <a:noFill/>
          </a:ln>
        </p:spPr>
        <p:txBody>
          <a:bodyPr spcFirstLastPara="1" wrap="square" lIns="91425" tIns="91425" rIns="91425" bIns="91425" anchor="t" anchorCtr="0">
            <a:spAutoFit/>
          </a:bodyPr>
          <a:lstStyle/>
          <a:p>
            <a:pPr marL="9525" marR="4343" lvl="0" indent="0" algn="l" rtl="0">
              <a:spcBef>
                <a:spcPts val="0"/>
              </a:spcBef>
              <a:spcAft>
                <a:spcPts val="0"/>
              </a:spcAft>
              <a:buNone/>
            </a:pPr>
            <a:r>
              <a:rPr lang="ja-JP" sz="1800" b="1">
                <a:solidFill>
                  <a:schemeClr val="lt1"/>
                </a:solidFill>
                <a:latin typeface="Meiryo"/>
                <a:ea typeface="Meiryo"/>
                <a:cs typeface="Meiryo"/>
                <a:sym typeface="Meiryo"/>
              </a:rPr>
              <a:t>・</a:t>
            </a:r>
            <a:endParaRPr sz="1800">
              <a:solidFill>
                <a:schemeClr val="lt1"/>
              </a:solidFill>
            </a:endParaRPr>
          </a:p>
        </p:txBody>
      </p:sp>
      <p:sp>
        <p:nvSpPr>
          <p:cNvPr id="2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7"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6</a:t>
            </a:r>
            <a:r>
              <a:rPr lang="en-US" altLang="ja-JP" sz="3200" spc="-1000" dirty="0">
                <a:latin typeface="Meiryo"/>
                <a:ea typeface="Meiryo"/>
                <a:cs typeface="Meiryo"/>
                <a:sym typeface="Meiryo"/>
              </a:rPr>
              <a:t>】</a:t>
            </a:r>
            <a:r>
              <a:rPr lang="ja-JP" altLang="en-US" sz="3200" dirty="0">
                <a:latin typeface="Meiryo"/>
                <a:ea typeface="Meiryo"/>
                <a:cs typeface="Meiryo"/>
                <a:sym typeface="Meiryo"/>
              </a:rPr>
              <a:t>診療</a:t>
            </a:r>
            <a:r>
              <a:rPr lang="ja-JP" altLang="ja-JP" sz="3200" dirty="0">
                <a:latin typeface="Meiryo"/>
                <a:ea typeface="Meiryo"/>
                <a:cs typeface="Meiryo"/>
                <a:sym typeface="Meiryo"/>
              </a:rPr>
              <a:t>メニューの選択</a:t>
            </a:r>
            <a:endParaRPr kumimoji="0" lang="ja-JP" altLang="en-US" sz="3200" b="0" kern="0" dirty="0"/>
          </a:p>
        </p:txBody>
      </p:sp>
      <p:grpSp>
        <p:nvGrpSpPr>
          <p:cNvPr id="28" name="図形グループ 27"/>
          <p:cNvGrpSpPr>
            <a:grpSpLocks noChangeAspect="1"/>
          </p:cNvGrpSpPr>
          <p:nvPr/>
        </p:nvGrpSpPr>
        <p:grpSpPr>
          <a:xfrm>
            <a:off x="4310195" y="3304349"/>
            <a:ext cx="360000" cy="270000"/>
            <a:chOff x="3355262" y="5469690"/>
            <a:chExt cx="720000" cy="540000"/>
          </a:xfrm>
        </p:grpSpPr>
        <p:cxnSp>
          <p:nvCxnSpPr>
            <p:cNvPr id="29" name="カギ線コネクタ 2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1" name="図形グループ 30"/>
          <p:cNvGrpSpPr>
            <a:grpSpLocks noChangeAspect="1"/>
          </p:cNvGrpSpPr>
          <p:nvPr/>
        </p:nvGrpSpPr>
        <p:grpSpPr>
          <a:xfrm>
            <a:off x="6476038" y="3304349"/>
            <a:ext cx="360000" cy="270000"/>
            <a:chOff x="3355262" y="5469690"/>
            <a:chExt cx="720000" cy="540000"/>
          </a:xfrm>
        </p:grpSpPr>
        <p:cxnSp>
          <p:nvCxnSpPr>
            <p:cNvPr id="32" name="カギ線コネクタ 31"/>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4" name="図形グループ 33"/>
          <p:cNvGrpSpPr/>
          <p:nvPr/>
        </p:nvGrpSpPr>
        <p:grpSpPr>
          <a:xfrm>
            <a:off x="6803010" y="4870431"/>
            <a:ext cx="296586" cy="293005"/>
            <a:chOff x="4232441" y="3995693"/>
            <a:chExt cx="296586" cy="293005"/>
          </a:xfrm>
        </p:grpSpPr>
        <p:sp>
          <p:nvSpPr>
            <p:cNvPr id="35" name="円/楕円 34"/>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フリーフォーム 35"/>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7" name="図形グループ 36"/>
          <p:cNvGrpSpPr/>
          <p:nvPr/>
        </p:nvGrpSpPr>
        <p:grpSpPr>
          <a:xfrm>
            <a:off x="4648174" y="3468853"/>
            <a:ext cx="296586" cy="293005"/>
            <a:chOff x="3546641" y="3995693"/>
            <a:chExt cx="296586" cy="293005"/>
          </a:xfrm>
        </p:grpSpPr>
        <p:sp>
          <p:nvSpPr>
            <p:cNvPr id="38" name="円/楕円 3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0" name="図形グループ 39"/>
          <p:cNvGrpSpPr/>
          <p:nvPr/>
        </p:nvGrpSpPr>
        <p:grpSpPr>
          <a:xfrm>
            <a:off x="2454966" y="1842422"/>
            <a:ext cx="296587" cy="293005"/>
            <a:chOff x="2897417" y="3995693"/>
            <a:chExt cx="296587" cy="293005"/>
          </a:xfrm>
        </p:grpSpPr>
        <p:sp>
          <p:nvSpPr>
            <p:cNvPr id="41" name="円/楕円 4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テキスト ボックス 4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927"/>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DAD00CB7-0208-454B-86AE-90201EA6F585}"/>
              </a:ext>
            </a:extLst>
          </p:cNvPr>
          <p:cNvGraphicFramePr>
            <a:graphicFrameLocks noChangeAspect="1"/>
          </p:cNvGraphicFramePr>
          <p:nvPr>
            <p:custDataLst>
              <p:tags r:id="rId2"/>
            </p:custDataLst>
            <p:extLst>
              <p:ext uri="{D42A27DB-BD31-4B8C-83A1-F6EECF244321}">
                <p14:modId xmlns:p14="http://schemas.microsoft.com/office/powerpoint/2010/main" val="2646624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23"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28" name="Google Shape;928;g14384bf8b8a_2_133" descr="予約可能日時画面で「決定」をタップしている画像"/>
          <p:cNvPicPr preferRelativeResize="0">
            <a:picLocks noChangeAspect="1"/>
          </p:cNvPicPr>
          <p:nvPr/>
        </p:nvPicPr>
        <p:blipFill>
          <a:blip r:embed="rId7">
            <a:alphaModFix/>
          </a:blip>
          <a:stretch>
            <a:fillRect/>
          </a:stretch>
        </p:blipFill>
        <p:spPr>
          <a:xfrm>
            <a:off x="6203555" y="1996718"/>
            <a:ext cx="1911967" cy="4140000"/>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929" name="Google Shape;929;g14384bf8b8a_2_133" descr="予約可能日時画面のカレンダーから、予約希望日を選択している画像"/>
          <p:cNvPicPr preferRelativeResize="0">
            <a:picLocks noChangeAspect="1"/>
          </p:cNvPicPr>
          <p:nvPr/>
        </p:nvPicPr>
        <p:blipFill>
          <a:blip r:embed="rId7">
            <a:alphaModFix/>
          </a:blip>
          <a:stretch>
            <a:fillRect/>
          </a:stretch>
        </p:blipFill>
        <p:spPr>
          <a:xfrm>
            <a:off x="2949757" y="1996719"/>
            <a:ext cx="1911972"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931" name="Google Shape;931;g14384bf8b8a_2_133"/>
          <p:cNvSpPr txBox="1"/>
          <p:nvPr/>
        </p:nvSpPr>
        <p:spPr>
          <a:xfrm>
            <a:off x="2937075" y="1623687"/>
            <a:ext cx="1511100" cy="226500"/>
          </a:xfrm>
          <a:prstGeom prst="rect">
            <a:avLst/>
          </a:prstGeom>
          <a:noFill/>
          <a:ln>
            <a:noFill/>
          </a:ln>
        </p:spPr>
        <p:txBody>
          <a:bodyPr spcFirstLastPara="1" wrap="square" lIns="0" tIns="10850" rIns="0" bIns="0" anchor="t" anchorCtr="0">
            <a:spAutoFit/>
          </a:bodyPr>
          <a:lstStyle/>
          <a:p>
            <a:pPr marL="10859"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Meiryo"/>
                <a:ea typeface="Meiryo"/>
                <a:cs typeface="Meiryo"/>
                <a:sym typeface="Meiryo"/>
              </a:rPr>
              <a:t>予約日時を選ぶ</a:t>
            </a:r>
            <a:endParaRPr sz="1400" b="1" i="0" u="none" strike="noStrike" cap="none">
              <a:solidFill>
                <a:srgbClr val="009650"/>
              </a:solidFill>
              <a:latin typeface="Meiryo"/>
              <a:ea typeface="Meiryo"/>
              <a:cs typeface="Meiryo"/>
              <a:sym typeface="Meiryo"/>
            </a:endParaRPr>
          </a:p>
        </p:txBody>
      </p:sp>
      <p:sp>
        <p:nvSpPr>
          <p:cNvPr id="932" name="Google Shape;932;g14384bf8b8a_2_133"/>
          <p:cNvSpPr txBox="1"/>
          <p:nvPr/>
        </p:nvSpPr>
        <p:spPr>
          <a:xfrm>
            <a:off x="323791" y="1905000"/>
            <a:ext cx="2520000" cy="1132987"/>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0838" algn="l"/>
              </a:tabLst>
            </a:pPr>
            <a:r>
              <a:rPr lang="ja-JP" sz="2400" b="1" dirty="0">
                <a:solidFill>
                  <a:srgbClr val="009650"/>
                </a:solidFill>
                <a:latin typeface="Meiryo"/>
                <a:ea typeface="Meiryo"/>
                <a:cs typeface="Meiryo"/>
                <a:sym typeface="Meiryo"/>
              </a:rPr>
              <a:t>❶</a:t>
            </a:r>
            <a:r>
              <a:rPr lang="en-US" altLang="ja-JP" sz="2400" b="1"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予約希望日を選択</a:t>
            </a:r>
            <a:endParaRPr sz="2400" b="1" i="0" u="none" strike="noStrike" cap="none" dirty="0">
              <a:solidFill>
                <a:srgbClr val="009650"/>
              </a:solidFill>
              <a:latin typeface="Meiryo"/>
              <a:ea typeface="Meiryo"/>
              <a:cs typeface="Meiryo"/>
              <a:sym typeface="Meiryo"/>
            </a:endParaRPr>
          </a:p>
          <a:p>
            <a:pPr marL="9525" marR="4343" lvl="0" algn="l" rtl="0">
              <a:spcBef>
                <a:spcPts val="0"/>
              </a:spcBef>
              <a:spcAft>
                <a:spcPts val="0"/>
              </a:spcAft>
              <a:buClr>
                <a:srgbClr val="000000"/>
              </a:buClr>
              <a:buSzPts val="2400"/>
              <a:buFont typeface="Arial"/>
              <a:buNone/>
              <a:tabLst>
                <a:tab pos="350838" algn="l"/>
              </a:tabLst>
            </a:pPr>
            <a:r>
              <a:rPr lang="ja-JP" sz="2400" b="1" dirty="0">
                <a:solidFill>
                  <a:srgbClr val="009650"/>
                </a:solidFill>
                <a:latin typeface="Meiryo"/>
                <a:ea typeface="Meiryo"/>
                <a:cs typeface="Meiryo"/>
                <a:sym typeface="Meiryo"/>
              </a:rPr>
              <a:t>❷</a:t>
            </a:r>
            <a:r>
              <a:rPr lang="en-US" altLang="ja-JP" sz="2400" b="1"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希望の時間を選択</a:t>
            </a:r>
            <a:endParaRPr sz="1800" b="1" i="0" u="none" strike="noStrike" cap="none"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50838" algn="l"/>
              </a:tabLst>
            </a:pPr>
            <a:r>
              <a:rPr lang="ja-JP" sz="2400" b="1">
                <a:solidFill>
                  <a:srgbClr val="009650"/>
                </a:solidFill>
                <a:latin typeface="Meiryo"/>
                <a:ea typeface="Meiryo"/>
                <a:cs typeface="Meiryo"/>
                <a:sym typeface="Meiryo"/>
              </a:rPr>
              <a:t>❸</a:t>
            </a:r>
            <a:r>
              <a:rPr lang="en-US" altLang="ja-JP" sz="2400" b="1">
                <a:solidFill>
                  <a:srgbClr val="009650"/>
                </a:solidFill>
                <a:latin typeface="Meiryo"/>
                <a:ea typeface="Meiryo"/>
                <a:cs typeface="Meiryo"/>
                <a:sym typeface="Meiryo"/>
              </a:rPr>
              <a:t>	</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決定</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タップ</a:t>
            </a:r>
            <a:endParaRPr sz="1800" b="1" i="0" u="none" strike="noStrike" cap="none" dirty="0">
              <a:solidFill>
                <a:schemeClr val="dk1"/>
              </a:solidFill>
              <a:latin typeface="Meiryo"/>
              <a:ea typeface="Meiryo"/>
              <a:cs typeface="Meiryo"/>
              <a:sym typeface="Meiryo"/>
            </a:endParaRPr>
          </a:p>
        </p:txBody>
      </p:sp>
      <p:sp>
        <p:nvSpPr>
          <p:cNvPr id="2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6"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7</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予約日時の選択</a:t>
            </a:r>
            <a:endParaRPr kumimoji="0" lang="ja-JP" altLang="en-US" sz="3200" b="0" kern="0" dirty="0"/>
          </a:p>
        </p:txBody>
      </p:sp>
      <p:sp>
        <p:nvSpPr>
          <p:cNvPr id="42" name="Google Shape;484;p15"/>
          <p:cNvSpPr/>
          <p:nvPr/>
        </p:nvSpPr>
        <p:spPr>
          <a:xfrm>
            <a:off x="3019238" y="2524125"/>
            <a:ext cx="1791000" cy="18096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43" name="Google Shape;485;p15"/>
          <p:cNvSpPr/>
          <p:nvPr/>
        </p:nvSpPr>
        <p:spPr>
          <a:xfrm>
            <a:off x="3019238" y="4657800"/>
            <a:ext cx="1791000" cy="9621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44" name="Google Shape;489;p15"/>
          <p:cNvSpPr/>
          <p:nvPr/>
        </p:nvSpPr>
        <p:spPr>
          <a:xfrm>
            <a:off x="6259446" y="5571925"/>
            <a:ext cx="1791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45" name="図形グループ 44"/>
          <p:cNvGrpSpPr>
            <a:grpSpLocks noChangeAspect="1"/>
          </p:cNvGrpSpPr>
          <p:nvPr/>
        </p:nvGrpSpPr>
        <p:grpSpPr>
          <a:xfrm>
            <a:off x="5196435" y="3167090"/>
            <a:ext cx="720000" cy="540000"/>
            <a:chOff x="3355262" y="5469690"/>
            <a:chExt cx="720000" cy="540000"/>
          </a:xfrm>
        </p:grpSpPr>
        <p:cxnSp>
          <p:nvCxnSpPr>
            <p:cNvPr id="46" name="カギ線コネクタ 45"/>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48" name="図形グループ 47"/>
          <p:cNvGrpSpPr/>
          <p:nvPr/>
        </p:nvGrpSpPr>
        <p:grpSpPr>
          <a:xfrm>
            <a:off x="6113819" y="5420082"/>
            <a:ext cx="296586" cy="293005"/>
            <a:chOff x="4232441" y="3995693"/>
            <a:chExt cx="296586" cy="293005"/>
          </a:xfrm>
        </p:grpSpPr>
        <p:sp>
          <p:nvSpPr>
            <p:cNvPr id="49" name="円/楕円 4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4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1" name="図形グループ 50"/>
          <p:cNvGrpSpPr/>
          <p:nvPr/>
        </p:nvGrpSpPr>
        <p:grpSpPr>
          <a:xfrm>
            <a:off x="2874365" y="4505680"/>
            <a:ext cx="296586" cy="293005"/>
            <a:chOff x="3546641" y="3995693"/>
            <a:chExt cx="296586" cy="293005"/>
          </a:xfrm>
        </p:grpSpPr>
        <p:sp>
          <p:nvSpPr>
            <p:cNvPr id="52" name="円/楕円 5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4" name="図形グループ 53"/>
          <p:cNvGrpSpPr/>
          <p:nvPr/>
        </p:nvGrpSpPr>
        <p:grpSpPr>
          <a:xfrm>
            <a:off x="2874365" y="2374369"/>
            <a:ext cx="296587" cy="293005"/>
            <a:chOff x="2897417" y="3995693"/>
            <a:chExt cx="296587" cy="293005"/>
          </a:xfrm>
        </p:grpSpPr>
        <p:sp>
          <p:nvSpPr>
            <p:cNvPr id="55" name="円/楕円 5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テキスト ボックス 5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954"/>
        <p:cNvGrpSpPr/>
        <p:nvPr/>
      </p:nvGrpSpPr>
      <p:grpSpPr>
        <a:xfrm>
          <a:off x="0" y="0"/>
          <a:ext cx="0" cy="0"/>
          <a:chOff x="0" y="0"/>
          <a:chExt cx="0" cy="0"/>
        </a:xfrm>
      </p:grpSpPr>
      <p:pic>
        <p:nvPicPr>
          <p:cNvPr id="3" name="図 2" descr="次の診療を申し込むという表示が出ており、「進む」をタップしている画像"/>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26905" y="1997305"/>
            <a:ext cx="1599614" cy="3506400"/>
          </a:xfrm>
          <a:prstGeom prst="rect">
            <a:avLst/>
          </a:prstGeom>
        </p:spPr>
      </p:pic>
      <p:pic>
        <p:nvPicPr>
          <p:cNvPr id="972" name="Google Shape;972;g14384bf8b8a_2_163" descr="受診者選択画面の画像"/>
          <p:cNvPicPr preferRelativeResize="0">
            <a:picLocks noChangeAspect="1"/>
          </p:cNvPicPr>
          <p:nvPr/>
        </p:nvPicPr>
        <p:blipFill>
          <a:blip r:embed="rId6">
            <a:alphaModFix/>
          </a:blip>
          <a:stretch>
            <a:fillRect/>
          </a:stretch>
        </p:blipFill>
        <p:spPr>
          <a:xfrm>
            <a:off x="2605277" y="1992920"/>
            <a:ext cx="1620000" cy="3507769"/>
          </a:xfrm>
          <a:prstGeom prst="rect">
            <a:avLst/>
          </a:prstGeom>
          <a:noFill/>
          <a:ln w="9525">
            <a:solidFill>
              <a:schemeClr val="tx1">
                <a:lumMod val="50000"/>
                <a:lumOff val="50000"/>
              </a:schemeClr>
            </a:solidFill>
          </a:ln>
        </p:spPr>
      </p:pic>
      <p:pic>
        <p:nvPicPr>
          <p:cNvPr id="973" name="Google Shape;973;g14384bf8b8a_2_163" descr="受診者選択画面で該当する受診者を選択し「選択して次へ」をタップしている画像"/>
          <p:cNvPicPr preferRelativeResize="0">
            <a:picLocks noChangeAspect="1"/>
          </p:cNvPicPr>
          <p:nvPr/>
        </p:nvPicPr>
        <p:blipFill>
          <a:blip r:embed="rId7">
            <a:alphaModFix/>
          </a:blip>
          <a:stretch>
            <a:fillRect/>
          </a:stretch>
        </p:blipFill>
        <p:spPr>
          <a:xfrm>
            <a:off x="4765020" y="1992920"/>
            <a:ext cx="1620000" cy="3507810"/>
          </a:xfrm>
          <a:prstGeom prst="rect">
            <a:avLst/>
          </a:prstGeom>
          <a:noFill/>
          <a:ln w="9525">
            <a:solidFill>
              <a:schemeClr val="tx1">
                <a:lumMod val="50000"/>
                <a:lumOff val="50000"/>
              </a:schemeClr>
            </a:solidFill>
          </a:ln>
        </p:spPr>
      </p:pic>
      <p:graphicFrame>
        <p:nvGraphicFramePr>
          <p:cNvPr id="2" name="オブジェクト 1" hidden="1">
            <a:extLst>
              <a:ext uri="{FF2B5EF4-FFF2-40B4-BE49-F238E27FC236}">
                <a16:creationId xmlns:a16="http://schemas.microsoft.com/office/drawing/2014/main" id="{7F6633C4-5DED-466B-B5CB-BF4B9D5621BC}"/>
              </a:ext>
            </a:extLst>
          </p:cNvPr>
          <p:cNvGraphicFramePr>
            <a:graphicFrameLocks noChangeAspect="1"/>
          </p:cNvGraphicFramePr>
          <p:nvPr>
            <p:custDataLst>
              <p:tags r:id="rId2"/>
            </p:custDataLst>
            <p:extLst>
              <p:ext uri="{D42A27DB-BD31-4B8C-83A1-F6EECF244321}">
                <p14:modId xmlns:p14="http://schemas.microsoft.com/office/powerpoint/2010/main" val="386890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8" name="think-cell スライド" r:id="rId8" imgW="353" imgH="353" progId="TCLayout.ActiveDocument.1">
                  <p:embed/>
                </p:oleObj>
              </mc:Choice>
              <mc:Fallback>
                <p:oleObj name="think-cell スライド" r:id="rId8" imgW="353" imgH="353"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56" name="Google Shape;956;g14384bf8b8a_2_163"/>
          <p:cNvSpPr txBox="1"/>
          <p:nvPr/>
        </p:nvSpPr>
        <p:spPr>
          <a:xfrm>
            <a:off x="3173250" y="1513962"/>
            <a:ext cx="1511100" cy="226500"/>
          </a:xfrm>
          <a:prstGeom prst="rect">
            <a:avLst/>
          </a:prstGeom>
          <a:noFill/>
          <a:ln>
            <a:noFill/>
          </a:ln>
        </p:spPr>
        <p:txBody>
          <a:bodyPr spcFirstLastPara="1" wrap="square" lIns="0" tIns="10850" rIns="0" bIns="0" anchor="t" anchorCtr="0">
            <a:spAutoFit/>
          </a:bodyPr>
          <a:lstStyle/>
          <a:p>
            <a:pPr marL="10859" marR="0" lvl="0" indent="0" algn="l" rtl="0">
              <a:lnSpc>
                <a:spcPct val="100000"/>
              </a:lnSpc>
              <a:spcBef>
                <a:spcPts val="0"/>
              </a:spcBef>
              <a:spcAft>
                <a:spcPts val="0"/>
              </a:spcAft>
              <a:buClr>
                <a:srgbClr val="000000"/>
              </a:buClr>
              <a:buSzPts val="1400"/>
              <a:buFont typeface="Arial"/>
              <a:buNone/>
            </a:pPr>
            <a:r>
              <a:rPr lang="ja-JP" b="1">
                <a:solidFill>
                  <a:srgbClr val="009650"/>
                </a:solidFill>
                <a:latin typeface="Meiryo"/>
                <a:ea typeface="Meiryo"/>
                <a:cs typeface="Meiryo"/>
                <a:sym typeface="Meiryo"/>
              </a:rPr>
              <a:t>受診者</a:t>
            </a:r>
            <a:r>
              <a:rPr lang="ja-JP" sz="1400" b="1" i="0" u="none" strike="noStrike" cap="none">
                <a:solidFill>
                  <a:srgbClr val="009650"/>
                </a:solidFill>
                <a:latin typeface="Meiryo"/>
                <a:ea typeface="Meiryo"/>
                <a:cs typeface="Meiryo"/>
                <a:sym typeface="Meiryo"/>
              </a:rPr>
              <a:t>を選ぶ</a:t>
            </a:r>
            <a:endParaRPr sz="1400" b="1" i="0" u="none" strike="noStrike" cap="none">
              <a:solidFill>
                <a:srgbClr val="009650"/>
              </a:solidFill>
              <a:latin typeface="Meiryo"/>
              <a:ea typeface="Meiryo"/>
              <a:cs typeface="Meiryo"/>
              <a:sym typeface="Meiryo"/>
            </a:endParaRPr>
          </a:p>
        </p:txBody>
      </p:sp>
      <p:sp>
        <p:nvSpPr>
          <p:cNvPr id="957" name="Google Shape;957;g14384bf8b8a_2_163"/>
          <p:cNvSpPr txBox="1"/>
          <p:nvPr/>
        </p:nvSpPr>
        <p:spPr>
          <a:xfrm>
            <a:off x="323791" y="1905000"/>
            <a:ext cx="2520000" cy="2358964"/>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0838" algn="l"/>
              </a:tabLst>
            </a:pPr>
            <a:r>
              <a:rPr lang="ja-JP" sz="2400" b="1" dirty="0">
                <a:solidFill>
                  <a:srgbClr val="009650"/>
                </a:solidFill>
                <a:latin typeface="Meiryo"/>
                <a:ea typeface="Meiryo"/>
                <a:cs typeface="Meiryo"/>
                <a:sym typeface="Meiryo"/>
              </a:rPr>
              <a:t>❶</a:t>
            </a:r>
            <a:r>
              <a:rPr lang="en-US" altLang="ja-JP" sz="2400" b="1"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受診者選択を</a:t>
            </a:r>
            <a:endParaRPr lang="en-US" altLang="ja-JP" sz="1800" b="1" dirty="0">
              <a:solidFill>
                <a:schemeClr val="dk1"/>
              </a:solidFill>
              <a:latin typeface="Meiryo"/>
              <a:ea typeface="Meiryo"/>
              <a:cs typeface="Meiryo"/>
              <a:sym typeface="Meiryo"/>
            </a:endParaRPr>
          </a:p>
          <a:p>
            <a:pPr marL="9525" marR="4343" lvl="0" algn="l" rtl="0">
              <a:spcBef>
                <a:spcPts val="0"/>
              </a:spcBef>
              <a:spcAft>
                <a:spcPts val="0"/>
              </a:spcAft>
              <a:buNone/>
              <a:tabLst>
                <a:tab pos="350838"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表示</a:t>
            </a:r>
            <a:endParaRPr sz="1800" b="1" i="0" u="none" strike="noStrike" cap="none" dirty="0">
              <a:solidFill>
                <a:srgbClr val="009650"/>
              </a:solidFill>
              <a:latin typeface="Meiryo"/>
              <a:ea typeface="Meiryo"/>
              <a:cs typeface="Meiryo"/>
              <a:sym typeface="Meiryo"/>
            </a:endParaRPr>
          </a:p>
          <a:p>
            <a:pPr marL="9525" marR="4343" lvl="0" algn="l" rtl="0">
              <a:spcBef>
                <a:spcPts val="0"/>
              </a:spcBef>
              <a:spcAft>
                <a:spcPts val="0"/>
              </a:spcAft>
              <a:buClr>
                <a:srgbClr val="000000"/>
              </a:buClr>
              <a:buSzPts val="2400"/>
              <a:buFont typeface="Arial"/>
              <a:buNone/>
              <a:tabLst>
                <a:tab pos="350838" algn="l"/>
              </a:tabLst>
            </a:pPr>
            <a:r>
              <a:rPr lang="ja-JP" sz="2400" b="1" dirty="0">
                <a:solidFill>
                  <a:srgbClr val="009650"/>
                </a:solidFill>
                <a:latin typeface="Meiryo"/>
                <a:ea typeface="Meiryo"/>
                <a:cs typeface="Meiryo"/>
                <a:sym typeface="Meiryo"/>
              </a:rPr>
              <a:t>❷</a:t>
            </a:r>
            <a:r>
              <a:rPr lang="en-US" altLang="ja-JP" sz="2400" b="1"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該当する</a:t>
            </a:r>
            <a:endParaRPr lang="en-US" altLang="ja-JP" sz="1800" b="1" dirty="0">
              <a:solidFill>
                <a:schemeClr val="dk1"/>
              </a:solidFill>
              <a:latin typeface="Meiryo"/>
              <a:ea typeface="Meiryo"/>
              <a:cs typeface="Meiryo"/>
              <a:sym typeface="Meiryo"/>
            </a:endParaRPr>
          </a:p>
          <a:p>
            <a:pPr marL="9525" marR="4343" lvl="0" algn="l" rtl="0">
              <a:spcBef>
                <a:spcPts val="0"/>
              </a:spcBef>
              <a:spcAft>
                <a:spcPts val="0"/>
              </a:spcAft>
              <a:buClr>
                <a:srgbClr val="000000"/>
              </a:buClr>
              <a:buSzPts val="2400"/>
              <a:buFont typeface="Arial"/>
              <a:buNone/>
              <a:tabLst>
                <a:tab pos="350838"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受診者を選択</a:t>
            </a:r>
            <a:endParaRPr sz="1800" b="1"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50838" algn="l"/>
              </a:tabLst>
            </a:pPr>
            <a:r>
              <a:rPr lang="ja-JP" sz="2400" b="1">
                <a:solidFill>
                  <a:srgbClr val="009650"/>
                </a:solidFill>
                <a:latin typeface="Meiryo"/>
                <a:ea typeface="Meiryo"/>
                <a:cs typeface="Meiryo"/>
                <a:sym typeface="Meiryo"/>
              </a:rPr>
              <a:t>❸</a:t>
            </a:r>
            <a:r>
              <a:rPr lang="en-US" altLang="ja-JP" sz="2400" b="1">
                <a:solidFill>
                  <a:srgbClr val="009650"/>
                </a:solidFill>
                <a:latin typeface="Meiryo"/>
                <a:ea typeface="Meiryo"/>
                <a:cs typeface="Meiryo"/>
                <a:sym typeface="Meiryo"/>
              </a:rPr>
              <a:t>	</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選択</a:t>
            </a:r>
            <a:r>
              <a:rPr lang="ja-JP" sz="1800" b="1" dirty="0">
                <a:solidFill>
                  <a:schemeClr val="dk1"/>
                </a:solidFill>
                <a:latin typeface="Meiryo"/>
                <a:ea typeface="Meiryo"/>
                <a:cs typeface="Meiryo"/>
                <a:sym typeface="Meiryo"/>
              </a:rPr>
              <a:t>して</a:t>
            </a:r>
            <a:endParaRPr lang="en-US" altLang="ja-JP" sz="1800" b="1"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50838"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次へ</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タップ</a:t>
            </a:r>
            <a:endParaRPr sz="1800" b="1"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50838" algn="l"/>
              </a:tabLst>
            </a:pPr>
            <a:r>
              <a:rPr lang="ja-JP" sz="2400" b="1">
                <a:solidFill>
                  <a:srgbClr val="009650"/>
                </a:solidFill>
                <a:latin typeface="Meiryo"/>
                <a:ea typeface="Meiryo"/>
                <a:cs typeface="Meiryo"/>
                <a:sym typeface="Meiryo"/>
              </a:rPr>
              <a:t>❹</a:t>
            </a:r>
            <a:r>
              <a:rPr lang="en-US" altLang="ja-JP" sz="2400" b="1">
                <a:solidFill>
                  <a:srgbClr val="009650"/>
                </a:solidFill>
                <a:latin typeface="Meiryo"/>
                <a:ea typeface="Meiryo"/>
                <a:cs typeface="Meiryo"/>
                <a:sym typeface="Meiryo"/>
              </a:rPr>
              <a:t>	</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進む</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タップ</a:t>
            </a:r>
            <a:endParaRPr sz="1800" b="1" dirty="0">
              <a:solidFill>
                <a:schemeClr val="dk1"/>
              </a:solidFill>
              <a:latin typeface="Meiryo"/>
              <a:ea typeface="Meiryo"/>
              <a:cs typeface="Meiryo"/>
              <a:sym typeface="Meiryo"/>
            </a:endParaRPr>
          </a:p>
        </p:txBody>
      </p:sp>
      <p:sp>
        <p:nvSpPr>
          <p:cNvPr id="974" name="Google Shape;974;g14384bf8b8a_2_163"/>
          <p:cNvSpPr/>
          <p:nvPr/>
        </p:nvSpPr>
        <p:spPr>
          <a:xfrm>
            <a:off x="4799906" y="5030654"/>
            <a:ext cx="1548000"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975" name="Google Shape;975;g14384bf8b8a_2_163"/>
          <p:cNvSpPr/>
          <p:nvPr/>
        </p:nvSpPr>
        <p:spPr>
          <a:xfrm>
            <a:off x="4792369" y="2669322"/>
            <a:ext cx="1548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982" name="Google Shape;982;g14384bf8b8a_2_163"/>
          <p:cNvSpPr/>
          <p:nvPr/>
        </p:nvSpPr>
        <p:spPr>
          <a:xfrm>
            <a:off x="7679422" y="3860253"/>
            <a:ext cx="756000"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33"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8</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受診者の選択</a:t>
            </a:r>
            <a:endParaRPr kumimoji="0" lang="ja-JP" altLang="en-US" sz="3200" b="0" kern="0" dirty="0"/>
          </a:p>
        </p:txBody>
      </p:sp>
      <p:grpSp>
        <p:nvGrpSpPr>
          <p:cNvPr id="49" name="図形グループ 48"/>
          <p:cNvGrpSpPr>
            <a:grpSpLocks noChangeAspect="1"/>
          </p:cNvGrpSpPr>
          <p:nvPr/>
        </p:nvGrpSpPr>
        <p:grpSpPr>
          <a:xfrm>
            <a:off x="4310195" y="3304349"/>
            <a:ext cx="360000" cy="270000"/>
            <a:chOff x="3355262" y="5469690"/>
            <a:chExt cx="720000" cy="540000"/>
          </a:xfrm>
        </p:grpSpPr>
        <p:cxnSp>
          <p:nvCxnSpPr>
            <p:cNvPr id="50" name="カギ線コネクタ 49"/>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図形グループ 51"/>
          <p:cNvGrpSpPr>
            <a:grpSpLocks noChangeAspect="1"/>
          </p:cNvGrpSpPr>
          <p:nvPr/>
        </p:nvGrpSpPr>
        <p:grpSpPr>
          <a:xfrm>
            <a:off x="6476038" y="3304349"/>
            <a:ext cx="360000" cy="270000"/>
            <a:chOff x="3355262" y="5469690"/>
            <a:chExt cx="720000" cy="540000"/>
          </a:xfrm>
        </p:grpSpPr>
        <p:cxnSp>
          <p:nvCxnSpPr>
            <p:cNvPr id="53" name="カギ線コネクタ 5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55" name="図形グループ 54"/>
          <p:cNvGrpSpPr/>
          <p:nvPr/>
        </p:nvGrpSpPr>
        <p:grpSpPr>
          <a:xfrm>
            <a:off x="4663314" y="4879575"/>
            <a:ext cx="296586" cy="293005"/>
            <a:chOff x="4232441" y="3995693"/>
            <a:chExt cx="296586" cy="293005"/>
          </a:xfrm>
        </p:grpSpPr>
        <p:sp>
          <p:nvSpPr>
            <p:cNvPr id="56" name="円/楕円 5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8" name="図形グループ 57"/>
          <p:cNvGrpSpPr/>
          <p:nvPr/>
        </p:nvGrpSpPr>
        <p:grpSpPr>
          <a:xfrm>
            <a:off x="4648174" y="2517877"/>
            <a:ext cx="296586" cy="293005"/>
            <a:chOff x="3546641" y="3995693"/>
            <a:chExt cx="296586" cy="293005"/>
          </a:xfrm>
        </p:grpSpPr>
        <p:sp>
          <p:nvSpPr>
            <p:cNvPr id="59" name="円/楕円 5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フリーフォーム 5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1" name="図形グループ 60"/>
          <p:cNvGrpSpPr/>
          <p:nvPr/>
        </p:nvGrpSpPr>
        <p:grpSpPr>
          <a:xfrm>
            <a:off x="2454966" y="1842422"/>
            <a:ext cx="296587" cy="293005"/>
            <a:chOff x="2897417" y="3995693"/>
            <a:chExt cx="296587" cy="293005"/>
          </a:xfrm>
        </p:grpSpPr>
        <p:sp>
          <p:nvSpPr>
            <p:cNvPr id="62" name="円/楕円 6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3" name="テキスト ボックス 6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64" name="図形グループ 63"/>
          <p:cNvGrpSpPr/>
          <p:nvPr/>
        </p:nvGrpSpPr>
        <p:grpSpPr>
          <a:xfrm>
            <a:off x="7528565" y="3713156"/>
            <a:ext cx="296586" cy="293005"/>
            <a:chOff x="5101121" y="3995693"/>
            <a:chExt cx="296586" cy="293005"/>
          </a:xfrm>
        </p:grpSpPr>
        <p:sp>
          <p:nvSpPr>
            <p:cNvPr id="65" name="円/楕円 6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フリーフォーム 6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988"/>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591286DD-BF78-4CCC-B416-B8270B0889D4}"/>
              </a:ext>
            </a:extLst>
          </p:cNvPr>
          <p:cNvGraphicFramePr>
            <a:graphicFrameLocks noChangeAspect="1"/>
          </p:cNvGraphicFramePr>
          <p:nvPr>
            <p:custDataLst>
              <p:tags r:id="rId2"/>
            </p:custDataLst>
            <p:extLst>
              <p:ext uri="{D42A27DB-BD31-4B8C-83A1-F6EECF244321}">
                <p14:modId xmlns:p14="http://schemas.microsoft.com/office/powerpoint/2010/main" val="777940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70"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90" name="Google Shape;990;g14384bf8b8a_2_194"/>
          <p:cNvSpPr txBox="1"/>
          <p:nvPr/>
        </p:nvSpPr>
        <p:spPr>
          <a:xfrm>
            <a:off x="6787784" y="1613548"/>
            <a:ext cx="1620300" cy="225900"/>
          </a:xfrm>
          <a:prstGeom prst="rect">
            <a:avLst/>
          </a:prstGeom>
          <a:noFill/>
          <a:ln>
            <a:noFill/>
          </a:ln>
        </p:spPr>
        <p:txBody>
          <a:bodyPr spcFirstLastPara="1" wrap="square" lIns="0" tIns="10300" rIns="0" bIns="0" anchor="t" anchorCtr="0">
            <a:spAutoFit/>
          </a:bodyPr>
          <a:lstStyle/>
          <a:p>
            <a:pPr marL="10859" marR="0" lvl="0" indent="0" algn="l" rtl="0">
              <a:lnSpc>
                <a:spcPct val="100000"/>
              </a:lnSpc>
              <a:spcBef>
                <a:spcPts val="0"/>
              </a:spcBef>
              <a:spcAft>
                <a:spcPts val="0"/>
              </a:spcAft>
              <a:buClr>
                <a:srgbClr val="000000"/>
              </a:buClr>
              <a:buSzPts val="1400"/>
              <a:buFont typeface="Arial"/>
              <a:buNone/>
            </a:pPr>
            <a:endParaRPr sz="1400" b="1" i="0" u="none" strike="noStrike" cap="none">
              <a:solidFill>
                <a:srgbClr val="009650"/>
              </a:solidFill>
              <a:latin typeface="Meiryo"/>
              <a:ea typeface="Meiryo"/>
              <a:cs typeface="Meiryo"/>
              <a:sym typeface="Meiryo"/>
            </a:endParaRPr>
          </a:p>
        </p:txBody>
      </p:sp>
      <p:sp>
        <p:nvSpPr>
          <p:cNvPr id="991" name="Google Shape;991;g14384bf8b8a_2_194"/>
          <p:cNvSpPr txBox="1"/>
          <p:nvPr/>
        </p:nvSpPr>
        <p:spPr>
          <a:xfrm>
            <a:off x="322515" y="1913095"/>
            <a:ext cx="2202900" cy="1304829"/>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0838" algn="l"/>
              </a:tabLst>
            </a:pPr>
            <a:r>
              <a:rPr lang="ja-JP" sz="2400" b="1" i="0" u="none" strike="noStrike" cap="none" dirty="0">
                <a:solidFill>
                  <a:srgbClr val="009650"/>
                </a:solidFill>
                <a:latin typeface="Meiryo"/>
                <a:ea typeface="Meiryo"/>
                <a:cs typeface="Meiryo"/>
                <a:sym typeface="Meiryo"/>
              </a:rPr>
              <a:t>❶</a:t>
            </a:r>
            <a:r>
              <a:rPr lang="en-US" altLang="ja-JP" sz="2400" b="1" i="0" u="none" strike="noStrike" cap="none"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記載されている</a:t>
            </a:r>
            <a:endParaRPr lang="en-US" altLang="ja-JP" sz="1800" b="1" dirty="0">
              <a:solidFill>
                <a:schemeClr val="dk1"/>
              </a:solidFill>
              <a:latin typeface="Meiryo"/>
              <a:ea typeface="Meiryo"/>
              <a:cs typeface="Meiryo"/>
              <a:sym typeface="Meiryo"/>
            </a:endParaRPr>
          </a:p>
          <a:p>
            <a:pPr marL="9525" marR="4343" lvl="0" algn="l" rtl="0">
              <a:spcBef>
                <a:spcPts val="0"/>
              </a:spcBef>
              <a:spcAft>
                <a:spcPts val="0"/>
              </a:spcAft>
              <a:buNone/>
              <a:tabLst>
                <a:tab pos="350838"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予約内容を確認</a:t>
            </a:r>
            <a:endParaRPr sz="1800" b="1" i="0" u="none" strike="noStrike" cap="none" dirty="0">
              <a:solidFill>
                <a:schemeClr val="dk1"/>
              </a:solidFill>
              <a:latin typeface="Meiryo"/>
              <a:ea typeface="Meiryo"/>
              <a:cs typeface="Meiryo"/>
              <a:sym typeface="Meiryo"/>
            </a:endParaRPr>
          </a:p>
          <a:p>
            <a:pPr marL="9525" marR="4343" lvl="0" algn="l" rtl="0">
              <a:spcBef>
                <a:spcPts val="0"/>
              </a:spcBef>
              <a:spcAft>
                <a:spcPts val="0"/>
              </a:spcAft>
              <a:buNone/>
              <a:tabLst>
                <a:tab pos="350838" algn="l"/>
              </a:tabLst>
            </a:pPr>
            <a:r>
              <a:rPr lang="ja-JP" sz="2400" b="1" i="0" u="none" strike="noStrike" cap="none">
                <a:solidFill>
                  <a:srgbClr val="009650"/>
                </a:solidFill>
                <a:latin typeface="Meiryo"/>
                <a:ea typeface="Meiryo"/>
                <a:cs typeface="Meiryo"/>
                <a:sym typeface="Meiryo"/>
              </a:rPr>
              <a:t>❷</a:t>
            </a:r>
            <a:r>
              <a:rPr lang="en-US" altLang="ja-JP" sz="2400" b="1" i="0" u="none" strike="noStrike" cap="none">
                <a:solidFill>
                  <a:srgbClr val="009650"/>
                </a:solidFill>
                <a:latin typeface="Meiryo"/>
                <a:ea typeface="Meiryo"/>
                <a:cs typeface="Meiryo"/>
                <a:sym typeface="Meiryo"/>
              </a:rPr>
              <a:t>	</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確認</a:t>
            </a:r>
            <a:r>
              <a:rPr lang="ja-JP" sz="1800" b="1" dirty="0">
                <a:solidFill>
                  <a:schemeClr val="dk1"/>
                </a:solidFill>
                <a:latin typeface="Meiryo"/>
                <a:ea typeface="Meiryo"/>
                <a:cs typeface="Meiryo"/>
                <a:sym typeface="Meiryo"/>
              </a:rPr>
              <a:t>して次へ</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a:t>
            </a:r>
            <a:endParaRPr lang="en-US" altLang="ja-JP" sz="1800" b="1" dirty="0">
              <a:solidFill>
                <a:schemeClr val="dk1"/>
              </a:solidFill>
              <a:latin typeface="Meiryo"/>
              <a:ea typeface="Meiryo"/>
              <a:cs typeface="Meiryo"/>
              <a:sym typeface="Meiryo"/>
            </a:endParaRPr>
          </a:p>
          <a:p>
            <a:pPr marL="9525" marR="4343" lvl="0" algn="l" rtl="0">
              <a:spcBef>
                <a:spcPts val="0"/>
              </a:spcBef>
              <a:spcAft>
                <a:spcPts val="0"/>
              </a:spcAft>
              <a:buNone/>
              <a:tabLst>
                <a:tab pos="350838"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タップ</a:t>
            </a:r>
            <a:endParaRPr sz="1800" b="0" i="0" u="none" strike="noStrike" cap="none" dirty="0">
              <a:solidFill>
                <a:schemeClr val="dk1"/>
              </a:solidFill>
              <a:sym typeface="Arial"/>
            </a:endParaRPr>
          </a:p>
        </p:txBody>
      </p:sp>
      <p:sp>
        <p:nvSpPr>
          <p:cNvPr id="997" name="Google Shape;997;g14384bf8b8a_2_194"/>
          <p:cNvSpPr txBox="1"/>
          <p:nvPr/>
        </p:nvSpPr>
        <p:spPr>
          <a:xfrm>
            <a:off x="7046250" y="4424400"/>
            <a:ext cx="453900" cy="461700"/>
          </a:xfrm>
          <a:prstGeom prst="rect">
            <a:avLst/>
          </a:prstGeom>
          <a:noFill/>
          <a:ln>
            <a:noFill/>
          </a:ln>
        </p:spPr>
        <p:txBody>
          <a:bodyPr spcFirstLastPara="1" wrap="square" lIns="91425" tIns="91425" rIns="91425" bIns="91425" anchor="t" anchorCtr="0">
            <a:spAutoFit/>
          </a:bodyPr>
          <a:lstStyle/>
          <a:p>
            <a:pPr marL="9525" marR="4343" lvl="0" indent="0" algn="l" rtl="0">
              <a:spcBef>
                <a:spcPts val="0"/>
              </a:spcBef>
              <a:spcAft>
                <a:spcPts val="0"/>
              </a:spcAft>
              <a:buNone/>
            </a:pPr>
            <a:r>
              <a:rPr lang="ja-JP" sz="1800" b="1">
                <a:solidFill>
                  <a:schemeClr val="lt1"/>
                </a:solidFill>
                <a:latin typeface="Meiryo"/>
                <a:ea typeface="Meiryo"/>
                <a:cs typeface="Meiryo"/>
                <a:sym typeface="Meiryo"/>
              </a:rPr>
              <a:t>・</a:t>
            </a:r>
            <a:endParaRPr sz="1800">
              <a:solidFill>
                <a:schemeClr val="lt1"/>
              </a:solidFill>
            </a:endParaRPr>
          </a:p>
        </p:txBody>
      </p:sp>
      <p:pic>
        <p:nvPicPr>
          <p:cNvPr id="999" name="Google Shape;999;g14384bf8b8a_2_194" descr="次回診療申込画面で予約内容が表示されている画像"/>
          <p:cNvPicPr preferRelativeResize="0">
            <a:picLocks noChangeAspect="1"/>
          </p:cNvPicPr>
          <p:nvPr/>
        </p:nvPicPr>
        <p:blipFill>
          <a:blip r:embed="rId7">
            <a:alphaModFix/>
          </a:blip>
          <a:stretch>
            <a:fillRect/>
          </a:stretch>
        </p:blipFill>
        <p:spPr>
          <a:xfrm>
            <a:off x="2956007" y="1997525"/>
            <a:ext cx="1911939" cy="4140000"/>
          </a:xfrm>
          <a:prstGeom prst="rect">
            <a:avLst/>
          </a:prstGeom>
          <a:noFill/>
          <a:ln w="9525">
            <a:solidFill>
              <a:schemeClr val="tx1">
                <a:lumMod val="50000"/>
                <a:lumOff val="50000"/>
              </a:schemeClr>
            </a:solidFill>
          </a:ln>
        </p:spPr>
      </p:pic>
      <p:pic>
        <p:nvPicPr>
          <p:cNvPr id="1000" name="Google Shape;1000;g14384bf8b8a_2_194" descr="次回診療申込画面で「確認して次へ」をタップしている画像"/>
          <p:cNvPicPr preferRelativeResize="0">
            <a:picLocks noChangeAspect="1"/>
          </p:cNvPicPr>
          <p:nvPr/>
        </p:nvPicPr>
        <p:blipFill>
          <a:blip r:embed="rId7">
            <a:alphaModFix/>
          </a:blip>
          <a:stretch>
            <a:fillRect/>
          </a:stretch>
        </p:blipFill>
        <p:spPr>
          <a:xfrm>
            <a:off x="6199634" y="1997525"/>
            <a:ext cx="1911940" cy="4140000"/>
          </a:xfrm>
          <a:prstGeom prst="rect">
            <a:avLst/>
          </a:prstGeom>
          <a:noFill/>
          <a:ln w="9525">
            <a:solidFill>
              <a:schemeClr val="tx1">
                <a:lumMod val="50000"/>
                <a:lumOff val="50000"/>
              </a:schemeClr>
            </a:solidFill>
          </a:ln>
        </p:spPr>
      </p:pic>
      <p:sp>
        <p:nvSpPr>
          <p:cNvPr id="1001" name="Google Shape;1001;g14384bf8b8a_2_194"/>
          <p:cNvSpPr/>
          <p:nvPr/>
        </p:nvSpPr>
        <p:spPr>
          <a:xfrm>
            <a:off x="2990123" y="2941250"/>
            <a:ext cx="1836000" cy="97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1002" name="Google Shape;1002;g14384bf8b8a_2_194"/>
          <p:cNvSpPr/>
          <p:nvPr/>
        </p:nvSpPr>
        <p:spPr>
          <a:xfrm>
            <a:off x="6235098" y="3982329"/>
            <a:ext cx="1836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18"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19"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9</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予約日時の確認</a:t>
            </a:r>
            <a:endParaRPr kumimoji="0" lang="ja-JP" altLang="en-US" sz="3200" b="0" kern="0" dirty="0"/>
          </a:p>
        </p:txBody>
      </p:sp>
      <p:grpSp>
        <p:nvGrpSpPr>
          <p:cNvPr id="20" name="図形グループ 19"/>
          <p:cNvGrpSpPr>
            <a:grpSpLocks noChangeAspect="1"/>
          </p:cNvGrpSpPr>
          <p:nvPr/>
        </p:nvGrpSpPr>
        <p:grpSpPr>
          <a:xfrm>
            <a:off x="5196435" y="3167090"/>
            <a:ext cx="720000" cy="540000"/>
            <a:chOff x="3355262" y="5469690"/>
            <a:chExt cx="720000" cy="540000"/>
          </a:xfrm>
        </p:grpSpPr>
        <p:cxnSp>
          <p:nvCxnSpPr>
            <p:cNvPr id="21" name="カギ線コネクタ 20"/>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23" name="図形グループ 22"/>
          <p:cNvGrpSpPr/>
          <p:nvPr/>
        </p:nvGrpSpPr>
        <p:grpSpPr>
          <a:xfrm>
            <a:off x="6095353" y="3838412"/>
            <a:ext cx="296586" cy="293005"/>
            <a:chOff x="3546641" y="3995693"/>
            <a:chExt cx="296586" cy="293005"/>
          </a:xfrm>
        </p:grpSpPr>
        <p:sp>
          <p:nvSpPr>
            <p:cNvPr id="24" name="円/楕円 2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フリーフォーム 24"/>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6" name="図形グループ 25"/>
          <p:cNvGrpSpPr/>
          <p:nvPr/>
        </p:nvGrpSpPr>
        <p:grpSpPr>
          <a:xfrm>
            <a:off x="2849651" y="2786262"/>
            <a:ext cx="296587" cy="293005"/>
            <a:chOff x="2897417" y="3995693"/>
            <a:chExt cx="296587" cy="293005"/>
          </a:xfrm>
        </p:grpSpPr>
        <p:sp>
          <p:nvSpPr>
            <p:cNvPr id="27" name="円/楕円 2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テキスト ボックス 27"/>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009"/>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983B434A-0B47-4D4B-A1A5-5C61777FB923}"/>
              </a:ext>
            </a:extLst>
          </p:cNvPr>
          <p:cNvGraphicFramePr>
            <a:graphicFrameLocks noChangeAspect="1"/>
          </p:cNvGraphicFramePr>
          <p:nvPr>
            <p:custDataLst>
              <p:tags r:id="rId2"/>
            </p:custDataLst>
            <p:extLst>
              <p:ext uri="{D42A27DB-BD31-4B8C-83A1-F6EECF244321}">
                <p14:modId xmlns:p14="http://schemas.microsoft.com/office/powerpoint/2010/main" val="2072169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4"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11" name="Google Shape;1011;g143eb037c4f_1_5"/>
          <p:cNvSpPr txBox="1"/>
          <p:nvPr/>
        </p:nvSpPr>
        <p:spPr>
          <a:xfrm>
            <a:off x="6787784" y="1613548"/>
            <a:ext cx="1620300" cy="225900"/>
          </a:xfrm>
          <a:prstGeom prst="rect">
            <a:avLst/>
          </a:prstGeom>
          <a:noFill/>
          <a:ln>
            <a:noFill/>
          </a:ln>
        </p:spPr>
        <p:txBody>
          <a:bodyPr spcFirstLastPara="1" wrap="square" lIns="0" tIns="10300" rIns="0" bIns="0" anchor="t" anchorCtr="0">
            <a:spAutoFit/>
          </a:bodyPr>
          <a:lstStyle/>
          <a:p>
            <a:pPr marL="10859" marR="0" lvl="0" indent="0" algn="l" rtl="0">
              <a:lnSpc>
                <a:spcPct val="100000"/>
              </a:lnSpc>
              <a:spcBef>
                <a:spcPts val="0"/>
              </a:spcBef>
              <a:spcAft>
                <a:spcPts val="0"/>
              </a:spcAft>
              <a:buClr>
                <a:srgbClr val="000000"/>
              </a:buClr>
              <a:buSzPts val="1400"/>
              <a:buFont typeface="Arial"/>
              <a:buNone/>
            </a:pPr>
            <a:endParaRPr sz="1400" b="1" i="0" u="none" strike="noStrike" cap="none">
              <a:solidFill>
                <a:srgbClr val="009650"/>
              </a:solidFill>
              <a:latin typeface="Meiryo"/>
              <a:ea typeface="Meiryo"/>
              <a:cs typeface="Meiryo"/>
              <a:sym typeface="Meiryo"/>
            </a:endParaRPr>
          </a:p>
        </p:txBody>
      </p:sp>
      <p:sp>
        <p:nvSpPr>
          <p:cNvPr id="1012" name="Google Shape;1012;g143eb037c4f_1_5"/>
          <p:cNvSpPr txBox="1"/>
          <p:nvPr/>
        </p:nvSpPr>
        <p:spPr>
          <a:xfrm>
            <a:off x="322515" y="1912663"/>
            <a:ext cx="2202900" cy="1581828"/>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0838" algn="l"/>
              </a:tabLst>
            </a:pPr>
            <a:r>
              <a:rPr lang="ja-JP" sz="2400" b="1" i="0" u="none" strike="noStrike" cap="none">
                <a:solidFill>
                  <a:srgbClr val="009650"/>
                </a:solidFill>
                <a:latin typeface="Meiryo"/>
                <a:ea typeface="Meiryo"/>
                <a:cs typeface="Meiryo"/>
                <a:sym typeface="Meiryo"/>
              </a:rPr>
              <a:t>❶</a:t>
            </a:r>
            <a:r>
              <a:rPr lang="en-US" altLang="ja-JP" sz="2400" b="1" i="0" u="none" strike="noStrike" cap="none">
                <a:solidFill>
                  <a:srgbClr val="009650"/>
                </a:solidFill>
                <a:latin typeface="Meiryo"/>
                <a:ea typeface="Meiryo"/>
                <a:cs typeface="Meiryo"/>
                <a:sym typeface="Meiryo"/>
              </a:rPr>
              <a:t>	</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受診</a:t>
            </a:r>
            <a:r>
              <a:rPr lang="ja-JP" sz="1800" b="1" dirty="0">
                <a:solidFill>
                  <a:schemeClr val="dk1"/>
                </a:solidFill>
                <a:latin typeface="Meiryo"/>
                <a:ea typeface="Meiryo"/>
                <a:cs typeface="Meiryo"/>
                <a:sym typeface="Meiryo"/>
              </a:rPr>
              <a:t>理由</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として、</a:t>
            </a: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事前に伝えて</a:t>
            </a:r>
            <a:endParaRPr lang="en-US" altLang="ja-JP" sz="1800" b="1" dirty="0">
              <a:solidFill>
                <a:schemeClr val="dk1"/>
              </a:solidFill>
              <a:latin typeface="Meiryo"/>
              <a:ea typeface="Meiryo"/>
              <a:cs typeface="Meiryo"/>
              <a:sym typeface="Meiryo"/>
            </a:endParaRPr>
          </a:p>
          <a:p>
            <a:pPr marL="9525" marR="4343" lvl="0" algn="l" rtl="0">
              <a:spcBef>
                <a:spcPts val="0"/>
              </a:spcBef>
              <a:spcAft>
                <a:spcPts val="0"/>
              </a:spcAft>
              <a:buNone/>
              <a:tabLst>
                <a:tab pos="350838"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おきたい事を</a:t>
            </a:r>
            <a:r>
              <a:rPr lang="ja-JP" altLang="en-US" sz="1800" b="1" dirty="0">
                <a:solidFill>
                  <a:schemeClr val="dk1"/>
                </a:solidFill>
                <a:latin typeface="Meiryo"/>
                <a:ea typeface="Meiryo"/>
                <a:cs typeface="Meiryo"/>
                <a:sym typeface="Meiryo"/>
              </a:rPr>
              <a:t>記入</a:t>
            </a:r>
            <a:endParaRPr sz="1800" b="1" dirty="0">
              <a:solidFill>
                <a:schemeClr val="dk1"/>
              </a:solidFill>
              <a:latin typeface="Meiryo"/>
              <a:ea typeface="Meiryo"/>
              <a:cs typeface="Meiryo"/>
              <a:sym typeface="Meiryo"/>
            </a:endParaRPr>
          </a:p>
          <a:p>
            <a:pPr marL="9525" marR="4343" lvl="0" algn="l" rtl="0">
              <a:spcBef>
                <a:spcPts val="0"/>
              </a:spcBef>
              <a:spcAft>
                <a:spcPts val="0"/>
              </a:spcAft>
              <a:buNone/>
              <a:tabLst>
                <a:tab pos="350838" algn="l"/>
              </a:tabLst>
            </a:pPr>
            <a:r>
              <a:rPr lang="ja-JP" sz="2400" b="1" i="0" u="none" strike="noStrike" cap="none">
                <a:solidFill>
                  <a:srgbClr val="009650"/>
                </a:solidFill>
                <a:latin typeface="Meiryo"/>
                <a:ea typeface="Meiryo"/>
                <a:cs typeface="Meiryo"/>
                <a:sym typeface="Meiryo"/>
              </a:rPr>
              <a:t>❷</a:t>
            </a:r>
            <a:r>
              <a:rPr lang="en-US" altLang="ja-JP" sz="2400" b="1" i="0" u="none" strike="noStrike" cap="none">
                <a:solidFill>
                  <a:srgbClr val="009650"/>
                </a:solidFill>
                <a:latin typeface="Meiryo"/>
                <a:ea typeface="Meiryo"/>
                <a:cs typeface="Meiryo"/>
                <a:sym typeface="Meiryo"/>
              </a:rPr>
              <a:t>	</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確認</a:t>
            </a:r>
            <a:r>
              <a:rPr lang="ja-JP" sz="1800" b="1" dirty="0">
                <a:solidFill>
                  <a:schemeClr val="dk1"/>
                </a:solidFill>
                <a:latin typeface="Meiryo"/>
                <a:ea typeface="Meiryo"/>
                <a:cs typeface="Meiryo"/>
                <a:sym typeface="Meiryo"/>
              </a:rPr>
              <a:t>して次へ</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a:t>
            </a:r>
            <a:endParaRPr lang="en-US" altLang="ja-JP" sz="1800" b="1" dirty="0">
              <a:solidFill>
                <a:schemeClr val="dk1"/>
              </a:solidFill>
              <a:latin typeface="Meiryo"/>
              <a:ea typeface="Meiryo"/>
              <a:cs typeface="Meiryo"/>
              <a:sym typeface="Meiryo"/>
            </a:endParaRPr>
          </a:p>
          <a:p>
            <a:pPr marL="9525" marR="4343" lvl="0" algn="l" rtl="0">
              <a:spcBef>
                <a:spcPts val="0"/>
              </a:spcBef>
              <a:spcAft>
                <a:spcPts val="0"/>
              </a:spcAft>
              <a:buNone/>
              <a:tabLst>
                <a:tab pos="350838"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タップ</a:t>
            </a:r>
            <a:endParaRPr sz="1800" b="0" i="0" u="none" strike="noStrike" cap="none" dirty="0">
              <a:solidFill>
                <a:schemeClr val="dk1"/>
              </a:solidFill>
              <a:sym typeface="Arial"/>
            </a:endParaRPr>
          </a:p>
        </p:txBody>
      </p:sp>
      <p:sp>
        <p:nvSpPr>
          <p:cNvPr id="1018" name="Google Shape;1018;g143eb037c4f_1_5"/>
          <p:cNvSpPr txBox="1"/>
          <p:nvPr/>
        </p:nvSpPr>
        <p:spPr>
          <a:xfrm>
            <a:off x="7046250" y="4424400"/>
            <a:ext cx="453900" cy="461700"/>
          </a:xfrm>
          <a:prstGeom prst="rect">
            <a:avLst/>
          </a:prstGeom>
          <a:noFill/>
          <a:ln>
            <a:noFill/>
          </a:ln>
        </p:spPr>
        <p:txBody>
          <a:bodyPr spcFirstLastPara="1" wrap="square" lIns="91425" tIns="91425" rIns="91425" bIns="91425" anchor="t" anchorCtr="0">
            <a:spAutoFit/>
          </a:bodyPr>
          <a:lstStyle/>
          <a:p>
            <a:pPr marL="9525" marR="4343" lvl="0" indent="0" algn="l" rtl="0">
              <a:spcBef>
                <a:spcPts val="0"/>
              </a:spcBef>
              <a:spcAft>
                <a:spcPts val="0"/>
              </a:spcAft>
              <a:buNone/>
            </a:pPr>
            <a:r>
              <a:rPr lang="ja-JP" sz="1800" b="1">
                <a:solidFill>
                  <a:schemeClr val="lt1"/>
                </a:solidFill>
                <a:latin typeface="Meiryo"/>
                <a:ea typeface="Meiryo"/>
                <a:cs typeface="Meiryo"/>
                <a:sym typeface="Meiryo"/>
              </a:rPr>
              <a:t>・</a:t>
            </a:r>
            <a:endParaRPr sz="1800">
              <a:solidFill>
                <a:schemeClr val="lt1"/>
              </a:solidFill>
            </a:endParaRPr>
          </a:p>
        </p:txBody>
      </p:sp>
      <p:pic>
        <p:nvPicPr>
          <p:cNvPr id="1020" name="Google Shape;1020;g143eb037c4f_1_5" descr="次回診察申込画面の受診理由入力欄に受診理由として事前に伝えておきたい事を入力している画像"/>
          <p:cNvPicPr preferRelativeResize="0">
            <a:picLocks noChangeAspect="1"/>
          </p:cNvPicPr>
          <p:nvPr/>
        </p:nvPicPr>
        <p:blipFill>
          <a:blip r:embed="rId7">
            <a:alphaModFix/>
          </a:blip>
          <a:stretch>
            <a:fillRect/>
          </a:stretch>
        </p:blipFill>
        <p:spPr>
          <a:xfrm>
            <a:off x="2953881" y="1996149"/>
            <a:ext cx="1911961" cy="4140000"/>
          </a:xfrm>
          <a:prstGeom prst="rect">
            <a:avLst/>
          </a:prstGeom>
          <a:noFill/>
          <a:ln w="9525">
            <a:solidFill>
              <a:schemeClr val="tx1">
                <a:lumMod val="50000"/>
                <a:lumOff val="50000"/>
              </a:schemeClr>
            </a:solidFill>
          </a:ln>
        </p:spPr>
      </p:pic>
      <p:pic>
        <p:nvPicPr>
          <p:cNvPr id="1021" name="Google Shape;1021;g143eb037c4f_1_5" descr="次回診察申込画面で「登録して次へ」をタップしている画像"/>
          <p:cNvPicPr preferRelativeResize="0">
            <a:picLocks noChangeAspect="1"/>
          </p:cNvPicPr>
          <p:nvPr/>
        </p:nvPicPr>
        <p:blipFill>
          <a:blip r:embed="rId7">
            <a:alphaModFix/>
          </a:blip>
          <a:stretch>
            <a:fillRect/>
          </a:stretch>
        </p:blipFill>
        <p:spPr>
          <a:xfrm>
            <a:off x="6204093" y="1996149"/>
            <a:ext cx="1911958" cy="4140000"/>
          </a:xfrm>
          <a:prstGeom prst="rect">
            <a:avLst/>
          </a:prstGeom>
          <a:noFill/>
          <a:ln w="9525">
            <a:solidFill>
              <a:schemeClr val="tx1">
                <a:lumMod val="50000"/>
                <a:lumOff val="50000"/>
              </a:schemeClr>
            </a:solidFill>
          </a:ln>
        </p:spPr>
      </p:pic>
      <p:sp>
        <p:nvSpPr>
          <p:cNvPr id="18"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19"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0</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受診理由の記</a:t>
            </a:r>
            <a:r>
              <a:rPr lang="ja-JP" altLang="ja-JP" sz="3200" spc="-1250" dirty="0">
                <a:latin typeface="Meiryo"/>
                <a:ea typeface="Meiryo"/>
                <a:cs typeface="Meiryo"/>
                <a:sym typeface="Meiryo"/>
              </a:rPr>
              <a:t>載</a:t>
            </a:r>
            <a:r>
              <a:rPr lang="ja-JP" altLang="en-US" sz="3200" b="0" dirty="0">
                <a:sym typeface="Meiryo"/>
              </a:rPr>
              <a:t>［</a:t>
            </a:r>
            <a:r>
              <a:rPr lang="ja-JP" altLang="en-US" sz="3200" dirty="0">
                <a:latin typeface="Meiryo"/>
                <a:ea typeface="Meiryo"/>
                <a:cs typeface="Meiryo"/>
                <a:sym typeface="Meiryo"/>
              </a:rPr>
              <a:t>任意</a:t>
            </a:r>
            <a:r>
              <a:rPr lang="ja-JP" altLang="en-US" sz="3200" b="0" dirty="0">
                <a:sym typeface="Meiryo"/>
              </a:rPr>
              <a:t>］</a:t>
            </a:r>
            <a:endParaRPr kumimoji="0" lang="ja-JP" altLang="en-US" sz="3200" b="0" kern="0" dirty="0"/>
          </a:p>
        </p:txBody>
      </p:sp>
      <p:sp>
        <p:nvSpPr>
          <p:cNvPr id="20" name="Google Shape;1001;g14384bf8b8a_2_194"/>
          <p:cNvSpPr/>
          <p:nvPr/>
        </p:nvSpPr>
        <p:spPr>
          <a:xfrm>
            <a:off x="2990123" y="3616757"/>
            <a:ext cx="1836000" cy="162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1" name="Google Shape;1002;g14384bf8b8a_2_194"/>
          <p:cNvSpPr/>
          <p:nvPr/>
        </p:nvSpPr>
        <p:spPr>
          <a:xfrm>
            <a:off x="6235098" y="5498089"/>
            <a:ext cx="1836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22" name="図形グループ 21"/>
          <p:cNvGrpSpPr>
            <a:grpSpLocks noChangeAspect="1"/>
          </p:cNvGrpSpPr>
          <p:nvPr/>
        </p:nvGrpSpPr>
        <p:grpSpPr>
          <a:xfrm>
            <a:off x="5196435" y="3167090"/>
            <a:ext cx="720000" cy="540000"/>
            <a:chOff x="3355262" y="5469690"/>
            <a:chExt cx="720000" cy="540000"/>
          </a:xfrm>
        </p:grpSpPr>
        <p:cxnSp>
          <p:nvCxnSpPr>
            <p:cNvPr id="23" name="カギ線コネクタ 2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25" name="図形グループ 24"/>
          <p:cNvGrpSpPr/>
          <p:nvPr/>
        </p:nvGrpSpPr>
        <p:grpSpPr>
          <a:xfrm>
            <a:off x="6095353" y="5354172"/>
            <a:ext cx="296586" cy="293005"/>
            <a:chOff x="3546641" y="3995693"/>
            <a:chExt cx="296586" cy="293005"/>
          </a:xfrm>
        </p:grpSpPr>
        <p:sp>
          <p:nvSpPr>
            <p:cNvPr id="26" name="円/楕円 2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フリーフォーム 2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8" name="図形グループ 27"/>
          <p:cNvGrpSpPr/>
          <p:nvPr/>
        </p:nvGrpSpPr>
        <p:grpSpPr>
          <a:xfrm>
            <a:off x="2849651" y="3461769"/>
            <a:ext cx="296587" cy="293005"/>
            <a:chOff x="2897417" y="3995693"/>
            <a:chExt cx="296587" cy="293005"/>
          </a:xfrm>
        </p:grpSpPr>
        <p:sp>
          <p:nvSpPr>
            <p:cNvPr id="29" name="円/楕円 2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030"/>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F6B4BDF-56E8-4F3C-AFA3-4BF31A89BDA7}"/>
              </a:ext>
            </a:extLst>
          </p:cNvPr>
          <p:cNvGraphicFramePr>
            <a:graphicFrameLocks noChangeAspect="1"/>
          </p:cNvGraphicFramePr>
          <p:nvPr>
            <p:custDataLst>
              <p:tags r:id="rId2"/>
            </p:custDataLst>
            <p:extLst>
              <p:ext uri="{D42A27DB-BD31-4B8C-83A1-F6EECF244321}">
                <p14:modId xmlns:p14="http://schemas.microsoft.com/office/powerpoint/2010/main" val="1000815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18"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8"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1</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保険証のアップロード</a:t>
            </a:r>
            <a:endParaRPr kumimoji="0" lang="ja-JP" altLang="en-US" sz="3200" b="0" kern="0" dirty="0"/>
          </a:p>
        </p:txBody>
      </p:sp>
      <p:pic>
        <p:nvPicPr>
          <p:cNvPr id="48" name="Google Shape;581;p17" descr="「新しく撮影する」ボタンをタップしている画像"/>
          <p:cNvPicPr preferRelativeResize="0">
            <a:picLocks noChangeAspect="1"/>
          </p:cNvPicPr>
          <p:nvPr/>
        </p:nvPicPr>
        <p:blipFill>
          <a:blip r:embed="rId7">
            <a:alphaModFix/>
          </a:blip>
          <a:stretch>
            <a:fillRect/>
          </a:stretch>
        </p:blipFill>
        <p:spPr>
          <a:xfrm>
            <a:off x="4762437" y="2004033"/>
            <a:ext cx="1620000" cy="3498467"/>
          </a:xfrm>
          <a:prstGeom prst="rect">
            <a:avLst/>
          </a:prstGeom>
          <a:noFill/>
          <a:ln>
            <a:noFill/>
          </a:ln>
        </p:spPr>
      </p:pic>
      <p:pic>
        <p:nvPicPr>
          <p:cNvPr id="49" name="Google Shape;582;p17" descr="オンライン診療申込画面の保険証の緑のカメラのアイコンをタップしている画像"/>
          <p:cNvPicPr preferRelativeResize="0">
            <a:picLocks noChangeAspect="1"/>
          </p:cNvPicPr>
          <p:nvPr/>
        </p:nvPicPr>
        <p:blipFill>
          <a:blip r:embed="rId8">
            <a:alphaModFix/>
          </a:blip>
          <a:stretch>
            <a:fillRect/>
          </a:stretch>
        </p:blipFill>
        <p:spPr>
          <a:xfrm>
            <a:off x="2601522" y="2004033"/>
            <a:ext cx="1620000" cy="2402735"/>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50" name="Google Shape;584;p17"/>
          <p:cNvSpPr txBox="1"/>
          <p:nvPr/>
        </p:nvSpPr>
        <p:spPr>
          <a:xfrm>
            <a:off x="323791" y="1439335"/>
            <a:ext cx="2700000" cy="3702922"/>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あらかじめ</a:t>
            </a:r>
            <a:endParaRPr lang="en-US" altLang="ja-JP" sz="1800" b="1" i="0" u="none" strike="noStrike" cap="none" dirty="0">
              <a:solidFill>
                <a:schemeClr val="dk1"/>
              </a:solidFill>
              <a:latin typeface="Meiryo"/>
              <a:ea typeface="Meiryo"/>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保険証をご準備</a:t>
            </a:r>
            <a:endParaRPr lang="en-US" altLang="ja-JP" sz="1800" b="1" i="0" u="none" strike="noStrike" cap="none" dirty="0">
              <a:solidFill>
                <a:schemeClr val="dk1"/>
              </a:solidFill>
              <a:latin typeface="Meiryo"/>
              <a:ea typeface="Meiryo"/>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ください。</a:t>
            </a:r>
            <a:endParaRPr lang="en-US" altLang="ja-JP" sz="1800" b="1" i="0" u="none" strike="noStrike" cap="none" dirty="0">
              <a:solidFill>
                <a:schemeClr val="dk1"/>
              </a:solidFill>
              <a:latin typeface="Meiryo"/>
              <a:ea typeface="Meiryo"/>
              <a:cs typeface="Meiryo"/>
              <a:sym typeface="Meiryo"/>
            </a:endParaRPr>
          </a:p>
          <a:p>
            <a:pPr marL="9525" marR="4343" lvl="0" algn="l" rtl="0">
              <a:spcBef>
                <a:spcPts val="0"/>
              </a:spcBef>
              <a:spcAft>
                <a:spcPts val="0"/>
              </a:spcAft>
              <a:buNone/>
              <a:tabLst>
                <a:tab pos="355600" algn="l"/>
              </a:tabLst>
            </a:pPr>
            <a:r>
              <a:rPr lang="ja-JP" sz="2400" b="1" i="0" u="none" strike="noStrike" cap="none" dirty="0">
                <a:solidFill>
                  <a:srgbClr val="009650"/>
                </a:solidFill>
                <a:latin typeface="Meiryo"/>
                <a:ea typeface="Meiryo"/>
                <a:cs typeface="Meiryo"/>
                <a:sym typeface="Meiryo"/>
              </a:rPr>
              <a:t>❶</a:t>
            </a:r>
            <a:r>
              <a:rPr lang="en-US" altLang="ja-JP" sz="2400" b="1" i="0" u="none" strike="noStrike" cap="none"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緑のカメラ</a:t>
            </a:r>
            <a:r>
              <a:rPr lang="ja-JP" altLang="en-US" sz="1800" b="1" dirty="0">
                <a:solidFill>
                  <a:schemeClr val="tx1"/>
                </a:solidFill>
                <a:latin typeface="Meiryo"/>
                <a:ea typeface="Meiryo"/>
                <a:cs typeface="Meiryo"/>
                <a:sym typeface="Meiryo"/>
              </a:rPr>
              <a:t>の</a:t>
            </a:r>
            <a:endParaRPr lang="en-US" altLang="ja-JP" sz="1800" b="1" dirty="0">
              <a:solidFill>
                <a:schemeClr val="tx1"/>
              </a:solidFill>
              <a:latin typeface="Meiryo"/>
              <a:ea typeface="Meiryo"/>
              <a:cs typeface="Meiryo"/>
              <a:sym typeface="Meiryo"/>
            </a:endParaRPr>
          </a:p>
          <a:p>
            <a:pPr marL="9525" marR="4343" lvl="0" algn="l" rtl="0">
              <a:spcBef>
                <a:spcPts val="0"/>
              </a:spcBef>
              <a:spcAft>
                <a:spcPts val="0"/>
              </a:spcAft>
              <a:buNone/>
              <a:tabLst>
                <a:tab pos="355600" algn="l"/>
              </a:tabLst>
            </a:pPr>
            <a:r>
              <a:rPr lang="en-US" altLang="ja-JP" sz="1800" b="1" dirty="0">
                <a:solidFill>
                  <a:schemeClr val="tx1"/>
                </a:solidFill>
                <a:latin typeface="Meiryo"/>
                <a:ea typeface="Meiryo"/>
                <a:cs typeface="Meiryo"/>
                <a:sym typeface="Meiryo"/>
              </a:rPr>
              <a:t>	</a:t>
            </a:r>
            <a:r>
              <a:rPr lang="ja-JP" altLang="en-US" sz="1800" b="1" dirty="0">
                <a:solidFill>
                  <a:schemeClr val="tx1"/>
                </a:solidFill>
                <a:latin typeface="Meiryo"/>
                <a:ea typeface="Meiryo"/>
                <a:cs typeface="Meiryo"/>
                <a:sym typeface="Meiryo"/>
              </a:rPr>
              <a:t>アイコン</a:t>
            </a:r>
            <a:r>
              <a:rPr lang="ja-JP" sz="1800" b="1" i="0" u="none" strike="noStrike" cap="none" dirty="0">
                <a:solidFill>
                  <a:schemeClr val="dk1"/>
                </a:solidFill>
                <a:latin typeface="Meiryo"/>
                <a:ea typeface="Meiryo"/>
                <a:cs typeface="Meiryo"/>
                <a:sym typeface="Meiryo"/>
              </a:rPr>
              <a:t>をタップ</a:t>
            </a:r>
            <a:endParaRPr sz="1800" b="1" i="0" u="none" strike="noStrike" cap="none" dirty="0">
              <a:solidFill>
                <a:schemeClr val="dk1"/>
              </a:solidFill>
              <a:latin typeface="Meiryo"/>
              <a:ea typeface="Meiryo"/>
              <a:cs typeface="Meiryo"/>
              <a:sym typeface="Meiryo"/>
            </a:endParaRPr>
          </a:p>
          <a:p>
            <a:pPr marL="9525" marR="4344" lvl="0" algn="l" rtl="0">
              <a:spcBef>
                <a:spcPts val="85"/>
              </a:spcBef>
              <a:spcAft>
                <a:spcPts val="0"/>
              </a:spcAft>
              <a:buNone/>
              <a:tabLst>
                <a:tab pos="355600"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新しく</a:t>
            </a:r>
            <a:endParaRPr lang="en-US" altLang="ja-JP" sz="1800" b="1" dirty="0">
              <a:solidFill>
                <a:schemeClr val="dk1"/>
              </a:solidFill>
              <a:latin typeface="Meiryo"/>
              <a:ea typeface="Meiryo"/>
              <a:cs typeface="Meiryo"/>
              <a:sym typeface="Meiryo"/>
            </a:endParaRPr>
          </a:p>
          <a:p>
            <a:pPr marL="9525" marR="4344" lvl="0" algn="l" rtl="0">
              <a:spcBef>
                <a:spcPts val="85"/>
              </a:spcBef>
              <a:spcAft>
                <a:spcPts val="0"/>
              </a:spcAft>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撮影する</a:t>
            </a:r>
            <a:r>
              <a:rPr lang="en-US" altLang="ja-JP" sz="1800" b="1" dirty="0">
                <a:solidFill>
                  <a:schemeClr val="tx1"/>
                </a:solidFill>
                <a:latin typeface="Meiryo"/>
                <a:ea typeface="Meiryo"/>
                <a:cs typeface="Meiryo"/>
                <a:sym typeface="Meiryo"/>
              </a:rPr>
              <a:t>｣</a:t>
            </a:r>
            <a:r>
              <a:rPr lang="ja-JP" sz="1800" b="1" dirty="0">
                <a:solidFill>
                  <a:schemeClr val="dk1"/>
                </a:solidFill>
                <a:latin typeface="Meiryo"/>
                <a:ea typeface="Meiryo"/>
                <a:cs typeface="Meiryo"/>
                <a:sym typeface="Meiryo"/>
              </a:rPr>
              <a:t>を</a:t>
            </a:r>
            <a:endParaRPr lang="en-US" altLang="ja-JP" sz="1800" b="1" dirty="0">
              <a:solidFill>
                <a:schemeClr val="dk1"/>
              </a:solidFill>
              <a:latin typeface="Meiryo"/>
              <a:ea typeface="Meiryo"/>
              <a:cs typeface="Meiryo"/>
              <a:sym typeface="Meiryo"/>
            </a:endParaRPr>
          </a:p>
          <a:p>
            <a:pPr marL="9525" marR="4344" lvl="0" algn="l" rtl="0">
              <a:spcBef>
                <a:spcPts val="85"/>
              </a:spcBef>
              <a:spcAft>
                <a:spcPts val="0"/>
              </a:spcAft>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タップ</a:t>
            </a:r>
            <a:endParaRPr sz="1800" b="1" dirty="0">
              <a:solidFill>
                <a:schemeClr val="dk1"/>
              </a:solidFill>
              <a:latin typeface="Meiryo"/>
              <a:ea typeface="Meiryo"/>
              <a:cs typeface="Meiryo"/>
              <a:sym typeface="Meiryo"/>
            </a:endParaRPr>
          </a:p>
          <a:p>
            <a:pPr marL="9525" marR="4344" lvl="0" algn="l" rtl="0">
              <a:spcBef>
                <a:spcPts val="85"/>
              </a:spcBef>
              <a:spcAft>
                <a:spcPts val="0"/>
              </a:spcAft>
              <a:buNone/>
              <a:tabLst>
                <a:tab pos="355600" algn="l"/>
              </a:tabLst>
            </a:pPr>
            <a:r>
              <a:rPr lang="ja-JP" sz="2400" b="1" dirty="0">
                <a:solidFill>
                  <a:srgbClr val="009650"/>
                </a:solidFill>
                <a:latin typeface="Meiryo"/>
                <a:ea typeface="Meiryo"/>
                <a:cs typeface="Meiryo"/>
                <a:sym typeface="Meiryo"/>
              </a:rPr>
              <a:t>❸</a:t>
            </a:r>
            <a:r>
              <a:rPr lang="en-US" altLang="ja-JP" sz="2400" b="1"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カメラのアプリが</a:t>
            </a:r>
            <a:endParaRPr lang="en-US" altLang="ja-JP" sz="1800" b="1" dirty="0">
              <a:solidFill>
                <a:schemeClr val="dk1"/>
              </a:solidFill>
              <a:latin typeface="Meiryo"/>
              <a:ea typeface="Meiryo"/>
              <a:cs typeface="Meiryo"/>
              <a:sym typeface="Meiryo"/>
            </a:endParaRPr>
          </a:p>
          <a:p>
            <a:pPr marL="9525" marR="4344" lvl="0" algn="l" rtl="0">
              <a:spcBef>
                <a:spcPts val="85"/>
              </a:spcBef>
              <a:spcAft>
                <a:spcPts val="0"/>
              </a:spcAft>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起動するので、</a:t>
            </a:r>
            <a:endParaRPr lang="en-US" altLang="ja-JP" sz="1800" b="1" dirty="0">
              <a:solidFill>
                <a:schemeClr val="dk1"/>
              </a:solidFill>
              <a:latin typeface="Meiryo"/>
              <a:ea typeface="Meiryo"/>
              <a:cs typeface="Meiryo"/>
              <a:sym typeface="Meiryo"/>
            </a:endParaRPr>
          </a:p>
          <a:p>
            <a:pPr marL="9525" marR="4344" lvl="0" algn="l" rtl="0">
              <a:spcBef>
                <a:spcPts val="85"/>
              </a:spcBef>
              <a:spcAft>
                <a:spcPts val="0"/>
              </a:spcAft>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保険証を</a:t>
            </a:r>
            <a:endParaRPr lang="en-US" altLang="ja-JP" sz="1800" b="1" dirty="0">
              <a:solidFill>
                <a:schemeClr val="dk1"/>
              </a:solidFill>
              <a:latin typeface="Meiryo"/>
              <a:ea typeface="Meiryo"/>
              <a:cs typeface="Meiryo"/>
              <a:sym typeface="Meiryo"/>
            </a:endParaRPr>
          </a:p>
          <a:p>
            <a:pPr marL="9525" marR="4344" lvl="0" algn="l" rtl="0">
              <a:spcBef>
                <a:spcPts val="85"/>
              </a:spcBef>
              <a:spcAft>
                <a:spcPts val="0"/>
              </a:spcAft>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撮影してください</a:t>
            </a:r>
            <a:endParaRPr sz="1800" b="1" i="0" u="none" strike="noStrike" cap="none" dirty="0">
              <a:solidFill>
                <a:schemeClr val="dk1"/>
              </a:solidFill>
              <a:latin typeface="Meiryo"/>
              <a:ea typeface="Meiryo"/>
              <a:cs typeface="Meiryo"/>
              <a:sym typeface="Meiryo"/>
            </a:endParaRPr>
          </a:p>
        </p:txBody>
      </p:sp>
      <p:sp>
        <p:nvSpPr>
          <p:cNvPr id="51" name="Google Shape;585;p17"/>
          <p:cNvSpPr txBox="1"/>
          <p:nvPr/>
        </p:nvSpPr>
        <p:spPr>
          <a:xfrm>
            <a:off x="2586958" y="1434572"/>
            <a:ext cx="1980000" cy="441843"/>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a:solidFill>
                  <a:srgbClr val="009650"/>
                </a:solidFill>
                <a:latin typeface="Meiryo"/>
                <a:ea typeface="Meiryo"/>
                <a:cs typeface="Meiryo"/>
                <a:sym typeface="Meiryo"/>
              </a:rPr>
              <a:t>保険証を</a:t>
            </a:r>
            <a:endParaRPr sz="1400" b="1">
              <a:solidFill>
                <a:srgbClr val="009650"/>
              </a:solidFill>
              <a:latin typeface="Meiryo"/>
              <a:ea typeface="Meiryo"/>
              <a:cs typeface="Meiryo"/>
              <a:sym typeface="Meiryo"/>
            </a:endParaRPr>
          </a:p>
          <a:p>
            <a:pPr marL="10860" marR="0" lvl="0" indent="0" algn="l" rtl="0">
              <a:lnSpc>
                <a:spcPct val="100000"/>
              </a:lnSpc>
              <a:spcBef>
                <a:spcPts val="0"/>
              </a:spcBef>
              <a:spcAft>
                <a:spcPts val="0"/>
              </a:spcAft>
              <a:buClr>
                <a:srgbClr val="000000"/>
              </a:buClr>
              <a:buSzPts val="1400"/>
              <a:buFont typeface="Arial"/>
              <a:buNone/>
            </a:pPr>
            <a:r>
              <a:rPr lang="ja-JP" sz="1400" b="1">
                <a:solidFill>
                  <a:srgbClr val="009650"/>
                </a:solidFill>
                <a:latin typeface="Meiryo"/>
                <a:ea typeface="Meiryo"/>
                <a:cs typeface="Meiryo"/>
                <a:sym typeface="Meiryo"/>
              </a:rPr>
              <a:t>アップロードする</a:t>
            </a:r>
            <a:endParaRPr sz="1400" b="1" i="0" u="none" strike="noStrike" cap="none">
              <a:solidFill>
                <a:srgbClr val="009650"/>
              </a:solidFill>
              <a:latin typeface="Meiryo"/>
              <a:ea typeface="Meiryo"/>
              <a:cs typeface="Meiryo"/>
              <a:sym typeface="Meiryo"/>
            </a:endParaRPr>
          </a:p>
        </p:txBody>
      </p:sp>
      <p:sp>
        <p:nvSpPr>
          <p:cNvPr id="52" name="Google Shape;586;p17"/>
          <p:cNvSpPr/>
          <p:nvPr/>
        </p:nvSpPr>
        <p:spPr>
          <a:xfrm>
            <a:off x="2969455" y="3525209"/>
            <a:ext cx="900000" cy="54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53" name="Google Shape;590;p17"/>
          <p:cNvSpPr/>
          <p:nvPr/>
        </p:nvSpPr>
        <p:spPr>
          <a:xfrm>
            <a:off x="4967811" y="4559302"/>
            <a:ext cx="1080000" cy="36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54" name="Google Shape;594;p17"/>
          <p:cNvSpPr txBox="1"/>
          <p:nvPr/>
        </p:nvSpPr>
        <p:spPr>
          <a:xfrm>
            <a:off x="4735640" y="1446229"/>
            <a:ext cx="1945800" cy="2265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a:solidFill>
                  <a:srgbClr val="009650"/>
                </a:solidFill>
                <a:latin typeface="Meiryo"/>
                <a:ea typeface="Meiryo"/>
                <a:cs typeface="Meiryo"/>
                <a:sym typeface="Meiryo"/>
              </a:rPr>
              <a:t>新しく撮影</a:t>
            </a:r>
            <a:endParaRPr sz="1400" b="1" i="0" u="none" strike="noStrike" cap="none">
              <a:solidFill>
                <a:srgbClr val="009650"/>
              </a:solidFill>
              <a:latin typeface="Meiryo"/>
              <a:ea typeface="Meiryo"/>
              <a:cs typeface="Meiryo"/>
              <a:sym typeface="Meiryo"/>
            </a:endParaRPr>
          </a:p>
        </p:txBody>
      </p:sp>
      <p:grpSp>
        <p:nvGrpSpPr>
          <p:cNvPr id="55" name="図形グループ 54"/>
          <p:cNvGrpSpPr>
            <a:grpSpLocks noChangeAspect="1"/>
          </p:cNvGrpSpPr>
          <p:nvPr/>
        </p:nvGrpSpPr>
        <p:grpSpPr>
          <a:xfrm>
            <a:off x="4375267" y="3304349"/>
            <a:ext cx="360000" cy="270000"/>
            <a:chOff x="3355262" y="5469690"/>
            <a:chExt cx="720000" cy="540000"/>
          </a:xfrm>
        </p:grpSpPr>
        <p:cxnSp>
          <p:nvCxnSpPr>
            <p:cNvPr id="56" name="カギ線コネクタ 55"/>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58" name="図形グループ 57"/>
          <p:cNvGrpSpPr>
            <a:grpSpLocks noChangeAspect="1"/>
          </p:cNvGrpSpPr>
          <p:nvPr/>
        </p:nvGrpSpPr>
        <p:grpSpPr>
          <a:xfrm>
            <a:off x="6530979" y="3304349"/>
            <a:ext cx="360000" cy="270000"/>
            <a:chOff x="3355262" y="5469690"/>
            <a:chExt cx="720000" cy="540000"/>
          </a:xfrm>
        </p:grpSpPr>
        <p:cxnSp>
          <p:nvCxnSpPr>
            <p:cNvPr id="59" name="カギ線コネクタ 5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61" name="図形グループ 60"/>
          <p:cNvGrpSpPr/>
          <p:nvPr/>
        </p:nvGrpSpPr>
        <p:grpSpPr>
          <a:xfrm>
            <a:off x="4828169" y="4412277"/>
            <a:ext cx="296586" cy="293005"/>
            <a:chOff x="3546641" y="3995693"/>
            <a:chExt cx="296586" cy="293005"/>
          </a:xfrm>
        </p:grpSpPr>
        <p:sp>
          <p:nvSpPr>
            <p:cNvPr id="62" name="円/楕円 6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3" name="フリーフォーム 6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4" name="図形グループ 63"/>
          <p:cNvGrpSpPr/>
          <p:nvPr/>
        </p:nvGrpSpPr>
        <p:grpSpPr>
          <a:xfrm>
            <a:off x="2815195" y="3374923"/>
            <a:ext cx="296587" cy="293005"/>
            <a:chOff x="2897417" y="3995693"/>
            <a:chExt cx="296587" cy="293005"/>
          </a:xfrm>
        </p:grpSpPr>
        <p:sp>
          <p:nvSpPr>
            <p:cNvPr id="65" name="円/楕円 6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テキスト ボックス 6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71" name="図形グループ 70" descr="カメラで保険証を撮影している画像"/>
          <p:cNvGrpSpPr>
            <a:grpSpLocks noChangeAspect="1"/>
          </p:cNvGrpSpPr>
          <p:nvPr/>
        </p:nvGrpSpPr>
        <p:grpSpPr>
          <a:xfrm>
            <a:off x="6929467" y="2004033"/>
            <a:ext cx="1620000" cy="3479155"/>
            <a:chOff x="7677071" y="1993146"/>
            <a:chExt cx="1927710" cy="4140001"/>
          </a:xfrm>
        </p:grpSpPr>
        <p:pic>
          <p:nvPicPr>
            <p:cNvPr id="72" name="図 71">
              <a:extLst>
                <a:ext uri="{FF2B5EF4-FFF2-40B4-BE49-F238E27FC236}">
                  <a16:creationId xmlns:a16="http://schemas.microsoft.com/office/drawing/2014/main" id="{35B46013-F0E4-4F13-8CAD-10C0D19B7B4D}"/>
                </a:ext>
              </a:extLst>
            </p:cNvPr>
            <p:cNvPicPr>
              <a:picLocks noChangeAspect="1"/>
            </p:cNvPicPr>
            <p:nvPr/>
          </p:nvPicPr>
          <p:blipFill>
            <a:blip r:embed="rId9"/>
            <a:stretch>
              <a:fillRect/>
            </a:stretch>
          </p:blipFill>
          <p:spPr>
            <a:xfrm>
              <a:off x="7677071" y="1993146"/>
              <a:ext cx="1911946" cy="4140001"/>
            </a:xfrm>
            <a:prstGeom prst="rect">
              <a:avLst/>
            </a:prstGeom>
            <a:ln w="9525">
              <a:solidFill>
                <a:schemeClr val="tx1">
                  <a:lumMod val="50000"/>
                  <a:lumOff val="50000"/>
                </a:schemeClr>
              </a:solidFill>
            </a:ln>
          </p:spPr>
        </p:pic>
        <p:sp>
          <p:nvSpPr>
            <p:cNvPr id="73" name="正方形/長方形 72">
              <a:extLst>
                <a:ext uri="{FF2B5EF4-FFF2-40B4-BE49-F238E27FC236}">
                  <a16:creationId xmlns:a16="http://schemas.microsoft.com/office/drawing/2014/main" id="{EB6838BF-FA8A-46D1-BD1E-83AE371D5765}"/>
                </a:ext>
              </a:extLst>
            </p:cNvPr>
            <p:cNvSpPr/>
            <p:nvPr/>
          </p:nvSpPr>
          <p:spPr>
            <a:xfrm>
              <a:off x="7678168" y="2607652"/>
              <a:ext cx="1911600" cy="27722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74" name="Google Shape;611;p16">
              <a:extLst>
                <a:ext uri="{FF2B5EF4-FFF2-40B4-BE49-F238E27FC236}">
                  <a16:creationId xmlns:a16="http://schemas.microsoft.com/office/drawing/2014/main" id="{A9265F8A-EE21-4A83-A305-30E30ED834F1}"/>
                </a:ext>
              </a:extLst>
            </p:cNvPr>
            <p:cNvPicPr preferRelativeResize="0">
              <a:picLocks noChangeAspect="1"/>
            </p:cNvPicPr>
            <p:nvPr/>
          </p:nvPicPr>
          <p:blipFill rotWithShape="1">
            <a:blip r:embed="rId10">
              <a:clrChange>
                <a:clrFrom>
                  <a:srgbClr val="FFFFFF"/>
                </a:clrFrom>
                <a:clrTo>
                  <a:srgbClr val="FFFFFF">
                    <a:alpha val="0"/>
                  </a:srgbClr>
                </a:clrTo>
              </a:clrChange>
              <a:alphaModFix/>
            </a:blip>
            <a:srcRect t="36578" b="43155"/>
            <a:stretch/>
          </p:blipFill>
          <p:spPr>
            <a:xfrm>
              <a:off x="7677637" y="3438117"/>
              <a:ext cx="1927144" cy="923046"/>
            </a:xfrm>
            <a:prstGeom prst="rect">
              <a:avLst/>
            </a:prstGeom>
            <a:noFill/>
            <a:ln w="9525" cap="flat" cmpd="sng">
              <a:noFill/>
              <a:prstDash val="solid"/>
              <a:round/>
              <a:headEnd type="none" w="sm" len="sm"/>
              <a:tailEnd type="none" w="sm" len="sm"/>
            </a:ln>
          </p:spPr>
        </p:pic>
        <p:sp>
          <p:nvSpPr>
            <p:cNvPr id="75" name="Google Shape;590;p17">
              <a:extLst>
                <a:ext uri="{FF2B5EF4-FFF2-40B4-BE49-F238E27FC236}">
                  <a16:creationId xmlns:a16="http://schemas.microsoft.com/office/drawing/2014/main" id="{AE852A49-1B6F-4CA6-87BF-6AC0B6012733}"/>
                </a:ext>
              </a:extLst>
            </p:cNvPr>
            <p:cNvSpPr/>
            <p:nvPr/>
          </p:nvSpPr>
          <p:spPr>
            <a:xfrm>
              <a:off x="8296480" y="5351770"/>
              <a:ext cx="685408" cy="514056"/>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grpSp>
        <p:nvGrpSpPr>
          <p:cNvPr id="76" name="図形グループ 75"/>
          <p:cNvGrpSpPr/>
          <p:nvPr/>
        </p:nvGrpSpPr>
        <p:grpSpPr>
          <a:xfrm>
            <a:off x="7307239" y="4674794"/>
            <a:ext cx="296586" cy="293005"/>
            <a:chOff x="4232441" y="3995693"/>
            <a:chExt cx="296586" cy="293005"/>
          </a:xfrm>
        </p:grpSpPr>
        <p:sp>
          <p:nvSpPr>
            <p:cNvPr id="77" name="円/楕円 76"/>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060"/>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1B46FD10-A0C9-419C-B3B6-5F1891291D8C}"/>
              </a:ext>
            </a:extLst>
          </p:cNvPr>
          <p:cNvGraphicFramePr>
            <a:graphicFrameLocks noChangeAspect="1"/>
          </p:cNvGraphicFramePr>
          <p:nvPr>
            <p:custDataLst>
              <p:tags r:id="rId2"/>
            </p:custDataLst>
            <p:extLst>
              <p:ext uri="{D42A27DB-BD31-4B8C-83A1-F6EECF244321}">
                <p14:modId xmlns:p14="http://schemas.microsoft.com/office/powerpoint/2010/main" val="648156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41"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64" name="Google Shape;1064;g143eb037c4f_1_81"/>
          <p:cNvSpPr txBox="1"/>
          <p:nvPr/>
        </p:nvSpPr>
        <p:spPr>
          <a:xfrm>
            <a:off x="323791" y="1915030"/>
            <a:ext cx="2520000" cy="1607476"/>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Clr>
                <a:srgbClr val="000000"/>
              </a:buClr>
              <a:buSzPts val="2400"/>
              <a:buFont typeface="Arial"/>
              <a:buNone/>
              <a:tabLst>
                <a:tab pos="350838" algn="l"/>
              </a:tabLst>
            </a:pPr>
            <a:r>
              <a:rPr lang="ja-JP" sz="2400" b="1" i="0" u="none" strike="noStrike" cap="none" dirty="0">
                <a:solidFill>
                  <a:srgbClr val="009650"/>
                </a:solidFill>
                <a:latin typeface="Meiryo"/>
                <a:ea typeface="Meiryo"/>
                <a:cs typeface="Meiryo"/>
                <a:sym typeface="Meiryo"/>
              </a:rPr>
              <a:t>❶</a:t>
            </a:r>
            <a:r>
              <a:rPr lang="en-US" altLang="ja-JP" sz="2400" b="1" i="0" u="none" strike="noStrike" cap="none"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支払い方法を</a:t>
            </a:r>
            <a:endParaRPr lang="en-US" altLang="ja-JP" sz="1800" b="1" dirty="0">
              <a:solidFill>
                <a:schemeClr val="dk1"/>
              </a:solidFill>
              <a:latin typeface="Meiryo"/>
              <a:ea typeface="Meiryo"/>
              <a:cs typeface="Meiryo"/>
              <a:sym typeface="Meiryo"/>
            </a:endParaRPr>
          </a:p>
          <a:p>
            <a:pPr marL="9525" marR="4343" lvl="0" algn="l" rtl="0">
              <a:spcBef>
                <a:spcPts val="0"/>
              </a:spcBef>
              <a:spcAft>
                <a:spcPts val="0"/>
              </a:spcAft>
              <a:buClr>
                <a:srgbClr val="000000"/>
              </a:buClr>
              <a:buSzPts val="2400"/>
              <a:buFont typeface="Arial"/>
              <a:buNone/>
              <a:tabLst>
                <a:tab pos="350838"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確認する</a:t>
            </a:r>
            <a:endParaRPr sz="1800" b="1" i="0" u="none" strike="noStrike" cap="none"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50838"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登録しておいた</a:t>
            </a:r>
            <a:endParaRPr lang="en-US" altLang="ja-JP" sz="1800" b="1" i="0" u="none" strike="noStrike" cap="none"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50838" algn="l"/>
              </a:tabLst>
            </a:pPr>
            <a:r>
              <a:rPr lang="en-US" altLang="ja-JP" sz="1800" b="1" dirty="0">
                <a:solidFill>
                  <a:schemeClr val="dk1"/>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クレジットカードを</a:t>
            </a:r>
            <a:endParaRPr lang="en-US" altLang="ja-JP" sz="1800" b="1" i="0" u="none" strike="noStrike" cap="none"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50838" algn="l"/>
              </a:tabLst>
            </a:pPr>
            <a:r>
              <a:rPr lang="en-US" altLang="ja-JP" sz="1800" b="1" dirty="0">
                <a:solidFill>
                  <a:schemeClr val="dk1"/>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選択</a:t>
            </a:r>
            <a:endParaRPr sz="1800" b="1" i="0" u="none" strike="noStrike" cap="none" dirty="0">
              <a:solidFill>
                <a:schemeClr val="dk1"/>
              </a:solidFill>
              <a:latin typeface="Meiryo"/>
              <a:ea typeface="Meiryo"/>
              <a:cs typeface="Meiryo"/>
              <a:sym typeface="Meiryo"/>
            </a:endParaRPr>
          </a:p>
        </p:txBody>
      </p:sp>
      <p:sp>
        <p:nvSpPr>
          <p:cNvPr id="2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3"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2</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支払い方法の選択</a:t>
            </a:r>
            <a:endParaRPr kumimoji="0" lang="ja-JP" altLang="en-US" sz="3200" b="0" kern="0" dirty="0"/>
          </a:p>
        </p:txBody>
      </p:sp>
      <p:pic>
        <p:nvPicPr>
          <p:cNvPr id="24" name="Google Shape;610;p16" descr="登録しておいたクレジットカードを選択している画像"/>
          <p:cNvPicPr preferRelativeResize="0">
            <a:picLocks noChangeAspect="1"/>
          </p:cNvPicPr>
          <p:nvPr/>
        </p:nvPicPr>
        <p:blipFill>
          <a:blip r:embed="rId7">
            <a:alphaModFix/>
          </a:blip>
          <a:stretch>
            <a:fillRect/>
          </a:stretch>
        </p:blipFill>
        <p:spPr>
          <a:xfrm>
            <a:off x="6195551" y="1991525"/>
            <a:ext cx="1751799" cy="4140000"/>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25" name="Google Shape;611;p16" descr="オンライン診療申込画面の下部に支払い方法が表示されている画像"/>
          <p:cNvPicPr preferRelativeResize="0">
            <a:picLocks noChangeAspect="1"/>
          </p:cNvPicPr>
          <p:nvPr/>
        </p:nvPicPr>
        <p:blipFill>
          <a:blip r:embed="rId7">
            <a:alphaModFix/>
          </a:blip>
          <a:stretch>
            <a:fillRect/>
          </a:stretch>
        </p:blipFill>
        <p:spPr>
          <a:xfrm>
            <a:off x="2948865" y="1991525"/>
            <a:ext cx="1751799"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6" name="Google Shape;614;p16"/>
          <p:cNvSpPr txBox="1"/>
          <p:nvPr/>
        </p:nvSpPr>
        <p:spPr>
          <a:xfrm>
            <a:off x="2944799" y="1447917"/>
            <a:ext cx="1836000" cy="2265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a:solidFill>
                  <a:srgbClr val="009650"/>
                </a:solidFill>
                <a:latin typeface="Meiryo"/>
                <a:ea typeface="Meiryo"/>
                <a:cs typeface="Meiryo"/>
                <a:sym typeface="Meiryo"/>
              </a:rPr>
              <a:t>支払い方法を</a:t>
            </a:r>
            <a:r>
              <a:rPr lang="ja-JP" b="1">
                <a:solidFill>
                  <a:srgbClr val="009650"/>
                </a:solidFill>
                <a:latin typeface="Meiryo"/>
                <a:ea typeface="Meiryo"/>
                <a:cs typeface="Meiryo"/>
                <a:sym typeface="Meiryo"/>
              </a:rPr>
              <a:t>選択</a:t>
            </a:r>
            <a:endParaRPr sz="1400" b="1" i="0" u="none" strike="noStrike" cap="none">
              <a:solidFill>
                <a:srgbClr val="009650"/>
              </a:solidFill>
              <a:latin typeface="Meiryo"/>
              <a:ea typeface="Meiryo"/>
              <a:cs typeface="Meiryo"/>
              <a:sym typeface="Meiryo"/>
            </a:endParaRPr>
          </a:p>
        </p:txBody>
      </p:sp>
      <p:sp>
        <p:nvSpPr>
          <p:cNvPr id="27" name="Google Shape;615;p16"/>
          <p:cNvSpPr txBox="1"/>
          <p:nvPr/>
        </p:nvSpPr>
        <p:spPr>
          <a:xfrm>
            <a:off x="6187384" y="1431905"/>
            <a:ext cx="2016000" cy="441843"/>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Meiryo"/>
                <a:ea typeface="Meiryo"/>
                <a:cs typeface="Meiryo"/>
                <a:sym typeface="Meiryo"/>
              </a:rPr>
              <a:t>あらかじめ登録していた</a:t>
            </a:r>
            <a:endParaRPr sz="1400" b="1" i="0" u="none" strike="noStrike" cap="none">
              <a:solidFill>
                <a:srgbClr val="009650"/>
              </a:solidFill>
              <a:latin typeface="Meiryo"/>
              <a:ea typeface="Meiryo"/>
              <a:cs typeface="Meiryo"/>
              <a:sym typeface="Meiryo"/>
            </a:endParaRPr>
          </a:p>
          <a:p>
            <a:pPr marL="10860"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Meiryo"/>
                <a:ea typeface="Meiryo"/>
                <a:cs typeface="Meiryo"/>
                <a:sym typeface="Meiryo"/>
              </a:rPr>
              <a:t>カードを選択</a:t>
            </a:r>
            <a:endParaRPr sz="1400" b="1" i="0" u="none" strike="noStrike" cap="none">
              <a:solidFill>
                <a:srgbClr val="009650"/>
              </a:solidFill>
              <a:latin typeface="Meiryo"/>
              <a:ea typeface="Meiryo"/>
              <a:cs typeface="Meiryo"/>
              <a:sym typeface="Meiryo"/>
            </a:endParaRPr>
          </a:p>
        </p:txBody>
      </p:sp>
      <p:sp>
        <p:nvSpPr>
          <p:cNvPr id="28" name="Google Shape;616;p16"/>
          <p:cNvSpPr/>
          <p:nvPr/>
        </p:nvSpPr>
        <p:spPr>
          <a:xfrm>
            <a:off x="2988607" y="4812379"/>
            <a:ext cx="1692000" cy="108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9" name="Google Shape;620;p16"/>
          <p:cNvSpPr/>
          <p:nvPr/>
        </p:nvSpPr>
        <p:spPr>
          <a:xfrm>
            <a:off x="6231055" y="5188705"/>
            <a:ext cx="1692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30" name="図形グループ 29"/>
          <p:cNvGrpSpPr>
            <a:grpSpLocks noChangeAspect="1"/>
          </p:cNvGrpSpPr>
          <p:nvPr/>
        </p:nvGrpSpPr>
        <p:grpSpPr>
          <a:xfrm>
            <a:off x="5196435" y="3167090"/>
            <a:ext cx="720000" cy="540000"/>
            <a:chOff x="3355262" y="5469690"/>
            <a:chExt cx="720000" cy="540000"/>
          </a:xfrm>
        </p:grpSpPr>
        <p:cxnSp>
          <p:nvCxnSpPr>
            <p:cNvPr id="31" name="カギ線コネクタ 30"/>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3" name="図形グループ 32"/>
          <p:cNvGrpSpPr/>
          <p:nvPr/>
        </p:nvGrpSpPr>
        <p:grpSpPr>
          <a:xfrm>
            <a:off x="6080620" y="5041827"/>
            <a:ext cx="296586" cy="293005"/>
            <a:chOff x="3546641" y="3995693"/>
            <a:chExt cx="296586" cy="293005"/>
          </a:xfrm>
        </p:grpSpPr>
        <p:sp>
          <p:nvSpPr>
            <p:cNvPr id="34" name="円/楕円 3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フリーフォーム 34"/>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6" name="図形グループ 35"/>
          <p:cNvGrpSpPr/>
          <p:nvPr/>
        </p:nvGrpSpPr>
        <p:grpSpPr>
          <a:xfrm>
            <a:off x="2843174" y="4662120"/>
            <a:ext cx="296587" cy="293005"/>
            <a:chOff x="2897417" y="3995693"/>
            <a:chExt cx="296587" cy="293005"/>
          </a:xfrm>
        </p:grpSpPr>
        <p:sp>
          <p:nvSpPr>
            <p:cNvPr id="37" name="円/楕円 3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085"/>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35A44FD-EFE3-4DE5-8D40-32FFC5534E58}"/>
              </a:ext>
            </a:extLst>
          </p:cNvPr>
          <p:cNvGraphicFramePr>
            <a:graphicFrameLocks noChangeAspect="1"/>
          </p:cNvGraphicFramePr>
          <p:nvPr>
            <p:custDataLst>
              <p:tags r:id="rId2"/>
            </p:custDataLst>
            <p:extLst>
              <p:ext uri="{D42A27DB-BD31-4B8C-83A1-F6EECF244321}">
                <p14:modId xmlns:p14="http://schemas.microsoft.com/office/powerpoint/2010/main" val="2550268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67"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91" name="Google Shape;1091;g143eb037c4f_1_105"/>
          <p:cNvSpPr txBox="1"/>
          <p:nvPr/>
        </p:nvSpPr>
        <p:spPr>
          <a:xfrm>
            <a:off x="323766" y="1908150"/>
            <a:ext cx="2374800" cy="3774736"/>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Clr>
                <a:srgbClr val="000000"/>
              </a:buClr>
              <a:buSzPts val="2400"/>
              <a:buFont typeface="Arial"/>
              <a:buNone/>
              <a:tabLst>
                <a:tab pos="350838" algn="l"/>
              </a:tabLst>
            </a:pPr>
            <a:r>
              <a:rPr lang="ja-JP" altLang="en-US" sz="2400" b="1" i="0" u="none" strike="noStrike" cap="none">
                <a:solidFill>
                  <a:srgbClr val="009650"/>
                </a:solidFill>
                <a:latin typeface="Meiryo"/>
                <a:ea typeface="Meiryo"/>
                <a:cs typeface="Meiryo"/>
                <a:sym typeface="Meiryo"/>
              </a:rPr>
              <a:t>❶</a:t>
            </a:r>
            <a:r>
              <a:rPr lang="en-US" altLang="ja-JP" sz="1800" b="1" i="0" u="none" strike="noStrike" cap="none">
                <a:solidFill>
                  <a:srgbClr val="FF0000"/>
                </a:solidFill>
                <a:latin typeface="Meiryo"/>
                <a:ea typeface="Meiryo"/>
                <a:cs typeface="Meiryo"/>
                <a:sym typeface="Meiryo"/>
              </a:rPr>
              <a:t>	</a:t>
            </a:r>
            <a:r>
              <a:rPr lang="en-US" altLang="ja-JP" sz="1800" b="1" i="0" u="none" strike="noStrike" cap="none">
                <a:solidFill>
                  <a:schemeClr val="tx1"/>
                </a:solidFill>
                <a:latin typeface="Meiryo"/>
                <a:ea typeface="Meiryo"/>
                <a:cs typeface="Meiryo"/>
                <a:sym typeface="Meiryo"/>
              </a:rPr>
              <a:t>｢</a:t>
            </a:r>
            <a:r>
              <a:rPr lang="ja-JP" altLang="en-US" sz="1800" b="1">
                <a:solidFill>
                  <a:schemeClr val="tx1"/>
                </a:solidFill>
                <a:latin typeface="Meiryo"/>
                <a:ea typeface="Meiryo"/>
                <a:cs typeface="Meiryo"/>
                <a:sym typeface="Meiryo"/>
              </a:rPr>
              <a:t>希望</a:t>
            </a:r>
            <a:r>
              <a:rPr lang="ja-JP" altLang="en-US" sz="1800" b="1" dirty="0">
                <a:solidFill>
                  <a:schemeClr val="tx1"/>
                </a:solidFill>
                <a:latin typeface="Meiryo"/>
                <a:ea typeface="Meiryo"/>
                <a:cs typeface="Meiryo"/>
                <a:sym typeface="Meiryo"/>
              </a:rPr>
              <a:t>の薬局</a:t>
            </a:r>
            <a:r>
              <a:rPr lang="en-US" altLang="ja-JP" sz="1800" b="1" dirty="0">
                <a:solidFill>
                  <a:schemeClr val="tx1"/>
                </a:solidFill>
                <a:latin typeface="Meiryo"/>
                <a:ea typeface="Meiryo"/>
                <a:cs typeface="Meiryo"/>
                <a:sym typeface="Meiryo"/>
              </a:rPr>
              <a:t>｣</a:t>
            </a:r>
            <a:r>
              <a:rPr lang="ja-JP" altLang="en-US" sz="1800" b="1" dirty="0">
                <a:latin typeface="Meiryo"/>
                <a:ea typeface="Meiryo"/>
                <a:cs typeface="Meiryo"/>
                <a:sym typeface="Meiryo"/>
              </a:rPr>
              <a:t>を</a:t>
            </a:r>
            <a:endParaRPr lang="en-US" altLang="ja-JP" sz="1800" b="1" dirty="0">
              <a:latin typeface="Meiryo"/>
              <a:ea typeface="Meiryo"/>
              <a:cs typeface="Meiryo"/>
              <a:sym typeface="Meiryo"/>
            </a:endParaRPr>
          </a:p>
          <a:p>
            <a:pPr marL="9525" marR="4343" lvl="0" algn="l" rtl="0">
              <a:spcBef>
                <a:spcPts val="0"/>
              </a:spcBef>
              <a:spcAft>
                <a:spcPts val="0"/>
              </a:spcAft>
              <a:buClr>
                <a:srgbClr val="000000"/>
              </a:buClr>
              <a:buSzPts val="2400"/>
              <a:buFont typeface="Arial"/>
              <a:buNone/>
              <a:tabLst>
                <a:tab pos="350838" algn="l"/>
              </a:tabLst>
            </a:pPr>
            <a:r>
              <a:rPr lang="en-US" altLang="ja-JP" sz="1800" b="1" dirty="0">
                <a:latin typeface="Meiryo"/>
                <a:ea typeface="Meiryo"/>
                <a:cs typeface="Meiryo"/>
                <a:sym typeface="Meiryo"/>
              </a:rPr>
              <a:t>	</a:t>
            </a:r>
            <a:r>
              <a:rPr lang="ja-JP" altLang="en-US" sz="1800" b="1" dirty="0">
                <a:latin typeface="Meiryo"/>
                <a:ea typeface="Meiryo"/>
                <a:cs typeface="Meiryo"/>
                <a:sym typeface="Meiryo"/>
              </a:rPr>
              <a:t>選択</a:t>
            </a:r>
            <a:r>
              <a:rPr lang="ja-JP" altLang="en-US" sz="1800" b="1" i="0" u="none" strike="noStrike" cap="none" dirty="0">
                <a:solidFill>
                  <a:srgbClr val="000000"/>
                </a:solidFill>
                <a:latin typeface="Meiryo"/>
                <a:ea typeface="Meiryo"/>
                <a:cs typeface="Meiryo"/>
                <a:sym typeface="Meiryo"/>
              </a:rPr>
              <a:t>をタップ</a:t>
            </a:r>
          </a:p>
          <a:p>
            <a:pPr marL="9525" marR="4343" lvl="2" algn="l" rtl="0">
              <a:spcBef>
                <a:spcPts val="0"/>
              </a:spcBef>
              <a:spcAft>
                <a:spcPts val="0"/>
              </a:spcAft>
              <a:buClr>
                <a:srgbClr val="000000"/>
              </a:buClr>
              <a:buSzPts val="2400"/>
              <a:buFont typeface="Arial"/>
              <a:buNone/>
              <a:tabLst>
                <a:tab pos="350838" algn="l"/>
              </a:tabLst>
            </a:pPr>
            <a:r>
              <a:rPr lang="en-US" altLang="ja-JP" sz="1400" b="1" i="0" u="none" strike="noStrike" cap="none">
                <a:solidFill>
                  <a:srgbClr val="000000"/>
                </a:solidFill>
                <a:latin typeface="Meiryo"/>
                <a:ea typeface="Meiryo"/>
                <a:cs typeface="Meiryo"/>
                <a:sym typeface="Meiryo"/>
              </a:rPr>
              <a:t>	</a:t>
            </a:r>
            <a:r>
              <a:rPr lang="ja-JP" altLang="en-US" sz="1400" b="1" i="0" u="none" strike="noStrike" cap="none">
                <a:solidFill>
                  <a:srgbClr val="000000"/>
                </a:solidFill>
                <a:latin typeface="Meiryo"/>
                <a:ea typeface="Meiryo"/>
                <a:cs typeface="Meiryo"/>
                <a:sym typeface="Meiryo"/>
              </a:rPr>
              <a:t>または</a:t>
            </a:r>
            <a:r>
              <a:rPr lang="en-US" altLang="ja-JP" sz="1400" b="1" i="0" u="none" strike="noStrike" cap="none">
                <a:solidFill>
                  <a:schemeClr val="tx1"/>
                </a:solidFill>
                <a:latin typeface="Meiryo"/>
                <a:ea typeface="Meiryo"/>
                <a:cs typeface="Meiryo"/>
                <a:sym typeface="Meiryo"/>
              </a:rPr>
              <a:t>｢</a:t>
            </a:r>
            <a:r>
              <a:rPr lang="ja-JP" altLang="en-US" b="1">
                <a:solidFill>
                  <a:schemeClr val="tx1"/>
                </a:solidFill>
                <a:latin typeface="Meiryo"/>
                <a:ea typeface="Meiryo"/>
                <a:cs typeface="Meiryo"/>
                <a:sym typeface="Meiryo"/>
              </a:rPr>
              <a:t>希望</a:t>
            </a:r>
            <a:r>
              <a:rPr lang="ja-JP" altLang="en-US" b="1" dirty="0">
                <a:solidFill>
                  <a:schemeClr val="tx1"/>
                </a:solidFill>
                <a:latin typeface="Meiryo"/>
                <a:ea typeface="Meiryo"/>
                <a:cs typeface="Meiryo"/>
                <a:sym typeface="Meiryo"/>
              </a:rPr>
              <a:t>の</a:t>
            </a:r>
            <a:endParaRPr lang="en-US" altLang="ja-JP" b="1" dirty="0">
              <a:solidFill>
                <a:schemeClr val="tx1"/>
              </a:solidFill>
              <a:latin typeface="Meiryo"/>
              <a:ea typeface="Meiryo"/>
              <a:cs typeface="Meiryo"/>
              <a:sym typeface="Meiryo"/>
            </a:endParaRPr>
          </a:p>
          <a:p>
            <a:pPr marL="9525" marR="4343" lvl="2" algn="l" rtl="0">
              <a:spcBef>
                <a:spcPts val="0"/>
              </a:spcBef>
              <a:spcAft>
                <a:spcPts val="0"/>
              </a:spcAft>
              <a:buClr>
                <a:srgbClr val="000000"/>
              </a:buClr>
              <a:buSzPts val="2400"/>
              <a:buFont typeface="Arial"/>
              <a:buNone/>
              <a:tabLst>
                <a:tab pos="350838" algn="l"/>
              </a:tabLst>
            </a:pPr>
            <a:r>
              <a:rPr lang="en-US" altLang="ja-JP" b="1" dirty="0">
                <a:solidFill>
                  <a:schemeClr val="tx1"/>
                </a:solidFill>
                <a:latin typeface="Meiryo"/>
                <a:ea typeface="Meiryo"/>
                <a:cs typeface="Meiryo"/>
                <a:sym typeface="Meiryo"/>
              </a:rPr>
              <a:t>	</a:t>
            </a:r>
            <a:r>
              <a:rPr lang="ja-JP" altLang="en-US" b="1" dirty="0">
                <a:solidFill>
                  <a:schemeClr val="tx1"/>
                </a:solidFill>
                <a:latin typeface="Meiryo"/>
                <a:ea typeface="Meiryo"/>
                <a:cs typeface="Meiryo"/>
                <a:sym typeface="Meiryo"/>
              </a:rPr>
              <a:t>薬局なし</a:t>
            </a:r>
            <a:r>
              <a:rPr lang="en-US" altLang="ja-JP" b="1" dirty="0">
                <a:solidFill>
                  <a:schemeClr val="tx1"/>
                </a:solidFill>
                <a:latin typeface="Meiryo"/>
                <a:ea typeface="Meiryo"/>
                <a:cs typeface="Meiryo"/>
                <a:sym typeface="Meiryo"/>
              </a:rPr>
              <a:t>｣</a:t>
            </a:r>
            <a:r>
              <a:rPr lang="ja-JP" altLang="en-US" b="1" dirty="0">
                <a:solidFill>
                  <a:schemeClr val="tx1"/>
                </a:solidFill>
                <a:latin typeface="Meiryo"/>
                <a:ea typeface="Meiryo"/>
                <a:cs typeface="Meiryo"/>
                <a:sym typeface="Meiryo"/>
              </a:rPr>
              <a:t>をタップ</a:t>
            </a:r>
            <a:endParaRPr lang="ja-JP" altLang="en-US" sz="1200" b="1" i="0" u="none" strike="sngStrike" cap="none" dirty="0">
              <a:solidFill>
                <a:schemeClr val="tx1"/>
              </a:solidFill>
              <a:latin typeface="Meiryo"/>
              <a:ea typeface="Meiryo"/>
              <a:cs typeface="Meiryo"/>
              <a:sym typeface="Meiryo"/>
            </a:endParaRPr>
          </a:p>
          <a:p>
            <a:pPr marL="9525" marR="4344" lvl="2" algn="l" rtl="0">
              <a:spcBef>
                <a:spcPts val="0"/>
              </a:spcBef>
              <a:spcAft>
                <a:spcPts val="0"/>
              </a:spcAft>
              <a:buClr>
                <a:srgbClr val="000000"/>
              </a:buClr>
              <a:buSzPts val="2400"/>
              <a:buFont typeface="Arial"/>
              <a:buNone/>
              <a:tabLst>
                <a:tab pos="350838" algn="l"/>
              </a:tabLst>
            </a:pPr>
            <a:r>
              <a:rPr lang="ja-JP" altLang="en-US"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r>
              <a:rPr lang="ja-JP" altLang="en-US" sz="1800" b="1" i="0" u="none" strike="noStrike" cap="none" dirty="0">
                <a:solidFill>
                  <a:srgbClr val="000000"/>
                </a:solidFill>
                <a:latin typeface="Meiryo"/>
                <a:ea typeface="Meiryo"/>
                <a:cs typeface="Meiryo"/>
                <a:sym typeface="Meiryo"/>
              </a:rPr>
              <a:t>ご希望の薬局を</a:t>
            </a:r>
            <a:endParaRPr lang="en-US" altLang="ja-JP" sz="1800" b="1" i="0" u="none" strike="noStrike" cap="none" dirty="0">
              <a:solidFill>
                <a:srgbClr val="000000"/>
              </a:solidFill>
              <a:latin typeface="Meiryo"/>
              <a:ea typeface="Meiryo"/>
              <a:cs typeface="Meiryo"/>
              <a:sym typeface="Meiryo"/>
            </a:endParaRPr>
          </a:p>
          <a:p>
            <a:pPr marL="9525" marR="4344" lvl="2" algn="l" rtl="0">
              <a:spcBef>
                <a:spcPts val="0"/>
              </a:spcBef>
              <a:spcAft>
                <a:spcPts val="0"/>
              </a:spcAft>
              <a:buClr>
                <a:srgbClr val="000000"/>
              </a:buClr>
              <a:buSzPts val="2400"/>
              <a:buFont typeface="Arial"/>
              <a:buNone/>
              <a:tabLst>
                <a:tab pos="350838" algn="l"/>
              </a:tabLst>
            </a:pPr>
            <a:r>
              <a:rPr lang="en-US" altLang="ja-JP" sz="1800" b="1" dirty="0">
                <a:latin typeface="Meiryo"/>
                <a:ea typeface="Meiryo"/>
                <a:cs typeface="Meiryo"/>
                <a:sym typeface="Meiryo"/>
              </a:rPr>
              <a:t>	</a:t>
            </a:r>
            <a:r>
              <a:rPr lang="ja-JP" altLang="en-US" sz="1800" b="1" i="0" u="none" strike="noStrike" cap="none" dirty="0">
                <a:solidFill>
                  <a:srgbClr val="000000"/>
                </a:solidFill>
                <a:latin typeface="Meiryo"/>
                <a:ea typeface="Meiryo"/>
                <a:cs typeface="Meiryo"/>
                <a:sym typeface="Meiryo"/>
              </a:rPr>
              <a:t>選択</a:t>
            </a:r>
          </a:p>
          <a:p>
            <a:pPr marL="9525" marR="4344" lvl="0" algn="l" rtl="0">
              <a:spcBef>
                <a:spcPts val="85"/>
              </a:spcBef>
              <a:spcAft>
                <a:spcPts val="0"/>
              </a:spcAft>
              <a:buClr>
                <a:srgbClr val="000000"/>
              </a:buClr>
              <a:buSzPts val="2400"/>
              <a:buFont typeface="Arial"/>
              <a:buNone/>
              <a:tabLst>
                <a:tab pos="350838" algn="l"/>
              </a:tabLst>
            </a:pPr>
            <a:r>
              <a:rPr lang="ja-JP" altLang="en-US" sz="2400" b="1" i="0" u="none" strike="noStrike" cap="none">
                <a:solidFill>
                  <a:srgbClr val="009650"/>
                </a:solidFill>
                <a:latin typeface="Meiryo"/>
                <a:ea typeface="Meiryo"/>
                <a:cs typeface="Meiryo"/>
                <a:sym typeface="Meiryo"/>
              </a:rPr>
              <a:t>❸</a:t>
            </a:r>
            <a:r>
              <a:rPr lang="en-US" altLang="ja-JP" sz="1800" b="1" i="0" u="none" strike="noStrike" cap="none">
                <a:solidFill>
                  <a:schemeClr val="tx1"/>
                </a:solidFill>
                <a:latin typeface="Meiryo"/>
                <a:ea typeface="Meiryo"/>
                <a:cs typeface="Meiryo"/>
                <a:sym typeface="Meiryo"/>
              </a:rPr>
              <a:t>｢</a:t>
            </a:r>
            <a:r>
              <a:rPr lang="ja-JP" altLang="en-US" sz="1800" b="1" i="0" u="none" strike="noStrike" cap="none">
                <a:solidFill>
                  <a:schemeClr val="tx1"/>
                </a:solidFill>
                <a:latin typeface="Meiryo"/>
                <a:ea typeface="Meiryo"/>
                <a:cs typeface="Meiryo"/>
                <a:sym typeface="Meiryo"/>
              </a:rPr>
              <a:t>この</a:t>
            </a:r>
            <a:r>
              <a:rPr lang="ja-JP" altLang="en-US" sz="1800" b="1" i="0" u="none" strike="noStrike" cap="none" dirty="0">
                <a:solidFill>
                  <a:schemeClr val="tx1"/>
                </a:solidFill>
                <a:latin typeface="Meiryo"/>
                <a:ea typeface="Meiryo"/>
                <a:cs typeface="Meiryo"/>
                <a:sym typeface="Meiryo"/>
              </a:rPr>
              <a:t>薬局</a:t>
            </a:r>
            <a:r>
              <a:rPr lang="ja-JP" altLang="en-US" sz="1800" b="1" dirty="0">
                <a:solidFill>
                  <a:schemeClr val="tx1"/>
                </a:solidFill>
                <a:latin typeface="Meiryo"/>
                <a:ea typeface="Meiryo"/>
                <a:cs typeface="Meiryo"/>
                <a:sym typeface="Meiryo"/>
              </a:rPr>
              <a:t>を選択</a:t>
            </a:r>
            <a:r>
              <a:rPr lang="en-US" altLang="ja-JP" sz="1800" b="1" dirty="0">
                <a:solidFill>
                  <a:schemeClr val="tx1"/>
                </a:solidFill>
                <a:latin typeface="Meiryo"/>
                <a:ea typeface="Meiryo"/>
                <a:cs typeface="Meiryo"/>
                <a:sym typeface="Meiryo"/>
              </a:rPr>
              <a:t>｣</a:t>
            </a:r>
          </a:p>
          <a:p>
            <a:pPr marL="9525" marR="4344" lvl="0" algn="l" rtl="0">
              <a:spcBef>
                <a:spcPts val="85"/>
              </a:spcBef>
              <a:spcAft>
                <a:spcPts val="0"/>
              </a:spcAft>
              <a:buClr>
                <a:srgbClr val="000000"/>
              </a:buClr>
              <a:buSzPts val="2400"/>
              <a:buFont typeface="Arial"/>
              <a:buNone/>
              <a:tabLst>
                <a:tab pos="350838" algn="l"/>
              </a:tabLst>
            </a:pPr>
            <a:r>
              <a:rPr lang="en-US" altLang="ja-JP" sz="1800" b="1" i="0" u="none" strike="noStrike" cap="none" dirty="0">
                <a:solidFill>
                  <a:schemeClr val="tx1"/>
                </a:solidFill>
                <a:latin typeface="Meiryo"/>
                <a:ea typeface="Meiryo"/>
                <a:cs typeface="Meiryo"/>
                <a:sym typeface="Meiryo"/>
              </a:rPr>
              <a:t>	</a:t>
            </a:r>
            <a:r>
              <a:rPr lang="ja-JP" altLang="en-US" sz="1800" b="1" i="0" u="none" strike="noStrike" cap="none" dirty="0">
                <a:solidFill>
                  <a:srgbClr val="000000"/>
                </a:solidFill>
                <a:latin typeface="Meiryo"/>
                <a:ea typeface="Meiryo"/>
                <a:cs typeface="Meiryo"/>
                <a:sym typeface="Meiryo"/>
              </a:rPr>
              <a:t>をタップ</a:t>
            </a:r>
          </a:p>
          <a:p>
            <a:pPr marL="9525" marR="4344" lvl="0" algn="l" rtl="0">
              <a:spcBef>
                <a:spcPts val="85"/>
              </a:spcBef>
              <a:spcAft>
                <a:spcPts val="0"/>
              </a:spcAft>
              <a:buClr>
                <a:srgbClr val="000000"/>
              </a:buClr>
              <a:buSzPts val="2400"/>
              <a:buFont typeface="Arial"/>
              <a:buNone/>
              <a:tabLst>
                <a:tab pos="350838" algn="l"/>
              </a:tabLst>
            </a:pPr>
            <a:endParaRPr lang="ja-JP" altLang="en-US" sz="1800" b="1" dirty="0">
              <a:latin typeface="Meiryo"/>
              <a:ea typeface="Meiryo"/>
              <a:cs typeface="Meiryo"/>
              <a:sym typeface="Meiryo"/>
            </a:endParaRPr>
          </a:p>
          <a:p>
            <a:pPr marL="9525" marR="4344" lvl="0" algn="l" rtl="0">
              <a:spcBef>
                <a:spcPts val="0"/>
              </a:spcBef>
              <a:spcAft>
                <a:spcPts val="0"/>
              </a:spcAft>
              <a:buClr>
                <a:srgbClr val="000000"/>
              </a:buClr>
              <a:buSzPts val="2400"/>
              <a:buFont typeface="Arial"/>
              <a:buNone/>
              <a:tabLst>
                <a:tab pos="350838" algn="l"/>
              </a:tabLst>
            </a:pPr>
            <a:r>
              <a:rPr lang="en-US" altLang="ja-JP" b="1" i="0" u="none" strike="noStrike" cap="none" dirty="0">
                <a:solidFill>
                  <a:srgbClr val="000000"/>
                </a:solidFill>
                <a:latin typeface="Meiryo"/>
                <a:ea typeface="Meiryo"/>
                <a:cs typeface="Meiryo"/>
                <a:sym typeface="Meiryo"/>
              </a:rPr>
              <a:t>	※</a:t>
            </a:r>
            <a:r>
              <a:rPr lang="ja-JP" altLang="en-US" b="1" i="0" u="none" strike="noStrike" cap="none" dirty="0">
                <a:solidFill>
                  <a:srgbClr val="000000"/>
                </a:solidFill>
                <a:latin typeface="Meiryo"/>
                <a:ea typeface="Meiryo"/>
                <a:cs typeface="Meiryo"/>
                <a:sym typeface="Meiryo"/>
              </a:rPr>
              <a:t>薬局でお薬を</a:t>
            </a:r>
            <a:endParaRPr lang="en-US" altLang="ja-JP" b="1" i="0" u="none" strike="noStrike" cap="none" dirty="0">
              <a:solidFill>
                <a:srgbClr val="000000"/>
              </a:solidFill>
              <a:latin typeface="Meiryo"/>
              <a:ea typeface="Meiryo"/>
              <a:cs typeface="Meiryo"/>
              <a:sym typeface="Meiryo"/>
            </a:endParaRPr>
          </a:p>
          <a:p>
            <a:pPr marL="9525" marR="4344" lvl="0" algn="l" rtl="0">
              <a:spcBef>
                <a:spcPts val="0"/>
              </a:spcBef>
              <a:spcAft>
                <a:spcPts val="0"/>
              </a:spcAft>
              <a:buClr>
                <a:srgbClr val="000000"/>
              </a:buClr>
              <a:buSzPts val="2400"/>
              <a:buFont typeface="Arial"/>
              <a:buNone/>
              <a:tabLst>
                <a:tab pos="350838" algn="l"/>
              </a:tabLst>
            </a:pPr>
            <a:r>
              <a:rPr lang="en-US" altLang="ja-JP" b="1" dirty="0">
                <a:latin typeface="Meiryo"/>
                <a:ea typeface="Meiryo"/>
                <a:cs typeface="Meiryo"/>
                <a:sym typeface="Meiryo"/>
              </a:rPr>
              <a:t>	</a:t>
            </a:r>
            <a:r>
              <a:rPr lang="ja-JP" altLang="en-US" b="1" i="0" u="none" strike="noStrike" cap="none" dirty="0">
                <a:solidFill>
                  <a:srgbClr val="000000"/>
                </a:solidFill>
                <a:latin typeface="Meiryo"/>
                <a:ea typeface="Meiryo"/>
                <a:cs typeface="Meiryo"/>
                <a:sym typeface="Meiryo"/>
              </a:rPr>
              <a:t>受け取る場合、一部の</a:t>
            </a:r>
            <a:endParaRPr lang="en-US" altLang="ja-JP" b="1" i="0" u="none" strike="noStrike" cap="none" dirty="0">
              <a:solidFill>
                <a:srgbClr val="000000"/>
              </a:solidFill>
              <a:latin typeface="Meiryo"/>
              <a:ea typeface="Meiryo"/>
              <a:cs typeface="Meiryo"/>
              <a:sym typeface="Meiryo"/>
            </a:endParaRPr>
          </a:p>
          <a:p>
            <a:pPr marL="9525" marR="4344" lvl="0" algn="l" rtl="0">
              <a:spcBef>
                <a:spcPts val="0"/>
              </a:spcBef>
              <a:spcAft>
                <a:spcPts val="0"/>
              </a:spcAft>
              <a:buClr>
                <a:srgbClr val="000000"/>
              </a:buClr>
              <a:buSzPts val="2400"/>
              <a:buFont typeface="Arial"/>
              <a:buNone/>
              <a:tabLst>
                <a:tab pos="350838" algn="l"/>
              </a:tabLst>
            </a:pPr>
            <a:r>
              <a:rPr lang="en-US" altLang="ja-JP" b="1" dirty="0">
                <a:latin typeface="Meiryo"/>
                <a:ea typeface="Meiryo"/>
                <a:cs typeface="Meiryo"/>
                <a:sym typeface="Meiryo"/>
              </a:rPr>
              <a:t>	</a:t>
            </a:r>
            <a:r>
              <a:rPr lang="ja-JP" altLang="en-US" b="1" i="0" u="none" strike="noStrike" cap="none" dirty="0">
                <a:solidFill>
                  <a:srgbClr val="000000"/>
                </a:solidFill>
                <a:latin typeface="Meiryo"/>
                <a:ea typeface="Meiryo"/>
                <a:cs typeface="Meiryo"/>
                <a:sym typeface="Meiryo"/>
              </a:rPr>
              <a:t>薬局には処方箋を</a:t>
            </a:r>
            <a:endParaRPr lang="en-US" altLang="ja-JP" b="1" i="0" u="none" strike="noStrike" cap="none" dirty="0">
              <a:solidFill>
                <a:srgbClr val="000000"/>
              </a:solidFill>
              <a:latin typeface="Meiryo"/>
              <a:ea typeface="Meiryo"/>
              <a:cs typeface="Meiryo"/>
              <a:sym typeface="Meiryo"/>
            </a:endParaRPr>
          </a:p>
          <a:p>
            <a:pPr marL="9525" marR="4344" lvl="0" algn="l" rtl="0">
              <a:spcBef>
                <a:spcPts val="0"/>
              </a:spcBef>
              <a:spcAft>
                <a:spcPts val="0"/>
              </a:spcAft>
              <a:buClr>
                <a:srgbClr val="000000"/>
              </a:buClr>
              <a:buSzPts val="2400"/>
              <a:buFont typeface="Arial"/>
              <a:buNone/>
              <a:tabLst>
                <a:tab pos="350838" algn="l"/>
              </a:tabLst>
            </a:pPr>
            <a:r>
              <a:rPr lang="en-US" altLang="ja-JP" b="1" dirty="0">
                <a:latin typeface="Meiryo"/>
                <a:ea typeface="Meiryo"/>
                <a:cs typeface="Meiryo"/>
                <a:sym typeface="Meiryo"/>
              </a:rPr>
              <a:t>	</a:t>
            </a:r>
            <a:r>
              <a:rPr lang="ja-JP" altLang="en-US" b="1" i="0" u="none" strike="noStrike" cap="none" dirty="0">
                <a:solidFill>
                  <a:srgbClr val="000000"/>
                </a:solidFill>
                <a:latin typeface="Meiryo"/>
                <a:ea typeface="Meiryo"/>
                <a:cs typeface="Meiryo"/>
                <a:sym typeface="Meiryo"/>
              </a:rPr>
              <a:t>医療機関から</a:t>
            </a:r>
            <a:endParaRPr lang="en-US" altLang="ja-JP" b="1" i="0" u="none" strike="noStrike" cap="none" dirty="0">
              <a:solidFill>
                <a:srgbClr val="000000"/>
              </a:solidFill>
              <a:latin typeface="Meiryo"/>
              <a:ea typeface="Meiryo"/>
              <a:cs typeface="Meiryo"/>
              <a:sym typeface="Meiryo"/>
            </a:endParaRPr>
          </a:p>
          <a:p>
            <a:pPr marL="9525" marR="4344" lvl="0" algn="l" rtl="0">
              <a:spcBef>
                <a:spcPts val="0"/>
              </a:spcBef>
              <a:spcAft>
                <a:spcPts val="0"/>
              </a:spcAft>
              <a:buClr>
                <a:srgbClr val="000000"/>
              </a:buClr>
              <a:buSzPts val="2400"/>
              <a:buFont typeface="Arial"/>
              <a:buNone/>
              <a:tabLst>
                <a:tab pos="350838" algn="l"/>
              </a:tabLst>
            </a:pPr>
            <a:r>
              <a:rPr lang="en-US" altLang="ja-JP" b="1" dirty="0">
                <a:latin typeface="Meiryo"/>
                <a:ea typeface="Meiryo"/>
                <a:cs typeface="Meiryo"/>
                <a:sym typeface="Meiryo"/>
              </a:rPr>
              <a:t>	</a:t>
            </a:r>
            <a:r>
              <a:rPr lang="ja-JP" altLang="en-US" b="1" i="0" u="none" strike="noStrike" cap="none" dirty="0">
                <a:solidFill>
                  <a:srgbClr val="000000"/>
                </a:solidFill>
                <a:latin typeface="Meiryo"/>
                <a:ea typeface="Meiryo"/>
                <a:cs typeface="Meiryo"/>
                <a:sym typeface="Meiryo"/>
              </a:rPr>
              <a:t>直接</a:t>
            </a:r>
            <a:r>
              <a:rPr lang="en-US" altLang="ja-JP" b="1" i="0" u="none" strike="noStrike" cap="none" dirty="0">
                <a:solidFill>
                  <a:srgbClr val="000000"/>
                </a:solidFill>
                <a:latin typeface="Meiryo"/>
                <a:ea typeface="Meiryo"/>
                <a:cs typeface="Meiryo"/>
                <a:sym typeface="Meiryo"/>
              </a:rPr>
              <a:t>FAX</a:t>
            </a:r>
            <a:r>
              <a:rPr lang="ja-JP" altLang="en-US" b="1" dirty="0">
                <a:latin typeface="Meiryo"/>
                <a:ea typeface="Meiryo"/>
                <a:cs typeface="Meiryo"/>
                <a:sym typeface="Meiryo"/>
              </a:rPr>
              <a:t>が可能です</a:t>
            </a:r>
            <a:endParaRPr lang="ja-JP" altLang="en-US" sz="1800" b="1" i="0" u="none" strike="noStrike" cap="none" dirty="0">
              <a:solidFill>
                <a:srgbClr val="000000"/>
              </a:solidFill>
              <a:latin typeface="Meiryo"/>
              <a:ea typeface="Meiryo"/>
              <a:cs typeface="Meiryo"/>
              <a:sym typeface="Meiryo"/>
            </a:endParaRPr>
          </a:p>
        </p:txBody>
      </p:sp>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31"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3</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お薬の受け取り方法の選択</a:t>
            </a:r>
            <a:endParaRPr kumimoji="0" lang="ja-JP" altLang="en-US" sz="3200" b="0" kern="0" dirty="0"/>
          </a:p>
        </p:txBody>
      </p:sp>
      <p:pic>
        <p:nvPicPr>
          <p:cNvPr id="32" name="Google Shape;634;p18" descr="希望の薬局の画面で「この薬局を選択」をタップしている画像"/>
          <p:cNvPicPr preferRelativeResize="0">
            <a:picLocks noChangeAspect="1"/>
          </p:cNvPicPr>
          <p:nvPr/>
        </p:nvPicPr>
        <p:blipFill>
          <a:blip r:embed="rId7">
            <a:alphaModFix/>
          </a:blip>
          <a:stretch>
            <a:fillRect/>
          </a:stretch>
        </p:blipFill>
        <p:spPr>
          <a:xfrm>
            <a:off x="6916658" y="1992051"/>
            <a:ext cx="1620000" cy="3507802"/>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33" name="Google Shape;635;p18" descr="希望の薬局を選択するための薬局の一覧が表示されている画面の画像"/>
          <p:cNvPicPr preferRelativeResize="0">
            <a:picLocks noChangeAspect="1"/>
          </p:cNvPicPr>
          <p:nvPr/>
        </p:nvPicPr>
        <p:blipFill>
          <a:blip r:embed="rId8">
            <a:alphaModFix/>
          </a:blip>
          <a:stretch>
            <a:fillRect/>
          </a:stretch>
        </p:blipFill>
        <p:spPr>
          <a:xfrm>
            <a:off x="4758315" y="1992051"/>
            <a:ext cx="1620000" cy="3507828"/>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34" name="Google Shape;636;p18" descr="お薬の受け取り方法画面で「希望の薬局を選択」をタップしている画像"/>
          <p:cNvPicPr preferRelativeResize="0"/>
          <p:nvPr/>
        </p:nvPicPr>
        <p:blipFill>
          <a:blip r:embed="rId9">
            <a:alphaModFix/>
          </a:blip>
          <a:stretch>
            <a:fillRect/>
          </a:stretch>
        </p:blipFill>
        <p:spPr>
          <a:xfrm>
            <a:off x="2601417" y="1992051"/>
            <a:ext cx="1619075" cy="2016295"/>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35" name="Google Shape;638;p18"/>
          <p:cNvSpPr txBox="1"/>
          <p:nvPr/>
        </p:nvSpPr>
        <p:spPr>
          <a:xfrm>
            <a:off x="2566707" y="1613874"/>
            <a:ext cx="1945800" cy="2265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Meiryo"/>
                <a:ea typeface="Meiryo"/>
                <a:cs typeface="Meiryo"/>
                <a:sym typeface="Meiryo"/>
              </a:rPr>
              <a:t>薬局を選択する</a:t>
            </a:r>
            <a:endParaRPr sz="1400" b="1" i="0" u="none" strike="noStrike" cap="none">
              <a:solidFill>
                <a:srgbClr val="009650"/>
              </a:solidFill>
              <a:latin typeface="Meiryo"/>
              <a:ea typeface="Meiryo"/>
              <a:cs typeface="Meiryo"/>
              <a:sym typeface="Meiryo"/>
            </a:endParaRPr>
          </a:p>
        </p:txBody>
      </p:sp>
      <p:sp>
        <p:nvSpPr>
          <p:cNvPr id="36" name="Google Shape;640;p18"/>
          <p:cNvSpPr/>
          <p:nvPr/>
        </p:nvSpPr>
        <p:spPr>
          <a:xfrm>
            <a:off x="4796745" y="2166456"/>
            <a:ext cx="1512000" cy="320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rgbClr val="FFFFFF"/>
              </a:solidFill>
              <a:latin typeface="Calibri"/>
              <a:ea typeface="Calibri"/>
              <a:cs typeface="Calibri"/>
              <a:sym typeface="Calibri"/>
            </a:endParaRPr>
          </a:p>
        </p:txBody>
      </p:sp>
      <p:sp>
        <p:nvSpPr>
          <p:cNvPr id="37" name="Google Shape;644;p18"/>
          <p:cNvSpPr/>
          <p:nvPr/>
        </p:nvSpPr>
        <p:spPr>
          <a:xfrm>
            <a:off x="6961297" y="5041623"/>
            <a:ext cx="1512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rgbClr val="FFFFFF"/>
              </a:solidFill>
              <a:latin typeface="Calibri"/>
              <a:ea typeface="Calibri"/>
              <a:cs typeface="Calibri"/>
              <a:sym typeface="Calibri"/>
            </a:endParaRPr>
          </a:p>
        </p:txBody>
      </p:sp>
      <p:sp>
        <p:nvSpPr>
          <p:cNvPr id="38" name="Google Shape;648;p18"/>
          <p:cNvSpPr/>
          <p:nvPr/>
        </p:nvSpPr>
        <p:spPr>
          <a:xfrm>
            <a:off x="2627641" y="2636715"/>
            <a:ext cx="1548000" cy="79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rgbClr val="FFFFFF"/>
              </a:solidFill>
              <a:latin typeface="Calibri"/>
              <a:ea typeface="Calibri"/>
              <a:cs typeface="Calibri"/>
              <a:sym typeface="Calibri"/>
            </a:endParaRPr>
          </a:p>
        </p:txBody>
      </p:sp>
      <p:grpSp>
        <p:nvGrpSpPr>
          <p:cNvPr id="39" name="図形グループ 38"/>
          <p:cNvGrpSpPr>
            <a:grpSpLocks noChangeAspect="1"/>
          </p:cNvGrpSpPr>
          <p:nvPr/>
        </p:nvGrpSpPr>
        <p:grpSpPr>
          <a:xfrm>
            <a:off x="4310195" y="3304349"/>
            <a:ext cx="360000" cy="270000"/>
            <a:chOff x="3355262" y="5469690"/>
            <a:chExt cx="720000" cy="540000"/>
          </a:xfrm>
        </p:grpSpPr>
        <p:cxnSp>
          <p:nvCxnSpPr>
            <p:cNvPr id="40" name="カギ線コネクタ 39"/>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42" name="図形グループ 41"/>
          <p:cNvGrpSpPr>
            <a:grpSpLocks noChangeAspect="1"/>
          </p:cNvGrpSpPr>
          <p:nvPr/>
        </p:nvGrpSpPr>
        <p:grpSpPr>
          <a:xfrm>
            <a:off x="6476038" y="3304349"/>
            <a:ext cx="360000" cy="270000"/>
            <a:chOff x="3355262" y="5469690"/>
            <a:chExt cx="720000" cy="540000"/>
          </a:xfrm>
        </p:grpSpPr>
        <p:cxnSp>
          <p:nvCxnSpPr>
            <p:cNvPr id="43" name="カギ線コネクタ 4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45" name="図形グループ 44"/>
          <p:cNvGrpSpPr/>
          <p:nvPr/>
        </p:nvGrpSpPr>
        <p:grpSpPr>
          <a:xfrm>
            <a:off x="6817380" y="4892508"/>
            <a:ext cx="296586" cy="293005"/>
            <a:chOff x="4232441" y="3995693"/>
            <a:chExt cx="296586" cy="293005"/>
          </a:xfrm>
        </p:grpSpPr>
        <p:sp>
          <p:nvSpPr>
            <p:cNvPr id="46" name="円/楕円 4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8" name="図形グループ 47"/>
          <p:cNvGrpSpPr/>
          <p:nvPr/>
        </p:nvGrpSpPr>
        <p:grpSpPr>
          <a:xfrm>
            <a:off x="4654467" y="2017425"/>
            <a:ext cx="296586" cy="293005"/>
            <a:chOff x="3546641" y="3995693"/>
            <a:chExt cx="296586" cy="293005"/>
          </a:xfrm>
        </p:grpSpPr>
        <p:sp>
          <p:nvSpPr>
            <p:cNvPr id="49" name="円/楕円 4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4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1" name="図形グループ 50"/>
          <p:cNvGrpSpPr/>
          <p:nvPr/>
        </p:nvGrpSpPr>
        <p:grpSpPr>
          <a:xfrm>
            <a:off x="2484176" y="2483418"/>
            <a:ext cx="296587" cy="293005"/>
            <a:chOff x="2897417" y="3995693"/>
            <a:chExt cx="296587" cy="293005"/>
          </a:xfrm>
        </p:grpSpPr>
        <p:sp>
          <p:nvSpPr>
            <p:cNvPr id="52" name="円/楕円 5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118"/>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90E4730-D23C-429E-8D2D-5777219BC123}"/>
              </a:ext>
            </a:extLst>
          </p:cNvPr>
          <p:cNvGraphicFramePr>
            <a:graphicFrameLocks noChangeAspect="1"/>
          </p:cNvGraphicFramePr>
          <p:nvPr>
            <p:custDataLst>
              <p:tags r:id="rId2"/>
            </p:custDataLst>
            <p:extLst>
              <p:ext uri="{D42A27DB-BD31-4B8C-83A1-F6EECF244321}">
                <p14:modId xmlns:p14="http://schemas.microsoft.com/office/powerpoint/2010/main" val="1353144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89"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23" name="Google Shape;1123;g143eb037c4f_1_137"/>
          <p:cNvSpPr txBox="1"/>
          <p:nvPr/>
        </p:nvSpPr>
        <p:spPr>
          <a:xfrm>
            <a:off x="324047" y="1895792"/>
            <a:ext cx="2374800" cy="1304829"/>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2425" algn="l"/>
              </a:tabLst>
            </a:pPr>
            <a:r>
              <a:rPr lang="ja-JP" sz="2400" b="1" i="0" u="none" strike="noStrike" cap="none">
                <a:solidFill>
                  <a:srgbClr val="009650"/>
                </a:solidFill>
                <a:latin typeface="Meiryo"/>
                <a:ea typeface="Meiryo"/>
                <a:cs typeface="Meiryo"/>
                <a:sym typeface="Meiryo"/>
              </a:rPr>
              <a:t>❶</a:t>
            </a:r>
            <a:r>
              <a:rPr lang="en-US" altLang="ja-JP" sz="2400" b="1" i="0" u="none" strike="noStrike" cap="none">
                <a:solidFill>
                  <a:srgbClr val="009650"/>
                </a:solidFill>
                <a:latin typeface="Meiryo"/>
                <a:ea typeface="Meiryo"/>
                <a:cs typeface="Meiryo"/>
                <a:sym typeface="Meiryo"/>
              </a:rPr>
              <a:t>	</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この</a:t>
            </a:r>
            <a:r>
              <a:rPr lang="ja-JP" sz="1800" b="1" dirty="0">
                <a:solidFill>
                  <a:schemeClr val="dk1"/>
                </a:solidFill>
                <a:latin typeface="Meiryo"/>
                <a:ea typeface="Meiryo"/>
                <a:cs typeface="Meiryo"/>
                <a:sym typeface="Meiryo"/>
              </a:rPr>
              <a:t>内容で</a:t>
            </a:r>
            <a:endParaRPr lang="en-US" altLang="ja-JP" sz="1800" b="1" dirty="0">
              <a:solidFill>
                <a:schemeClr val="dk1"/>
              </a:solidFill>
              <a:latin typeface="Meiryo"/>
              <a:ea typeface="Meiryo"/>
              <a:cs typeface="Meiryo"/>
              <a:sym typeface="Meiryo"/>
            </a:endParaRPr>
          </a:p>
          <a:p>
            <a:pPr marL="9525" marR="4343" lvl="0" algn="l" rtl="0">
              <a:spcBef>
                <a:spcPts val="0"/>
              </a:spcBef>
              <a:spcAft>
                <a:spcPts val="0"/>
              </a:spcAft>
              <a:buNone/>
              <a:tabLst>
                <a:tab pos="352425"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申し込む</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タップ</a:t>
            </a:r>
            <a:endParaRPr sz="1800" b="1" i="0" u="none" strike="noStrike" cap="none" dirty="0">
              <a:solidFill>
                <a:schemeClr val="dk1"/>
              </a:solidFill>
              <a:latin typeface="Meiryo"/>
              <a:ea typeface="Meiryo"/>
              <a:cs typeface="Meiryo"/>
              <a:sym typeface="Meiryo"/>
            </a:endParaRPr>
          </a:p>
          <a:p>
            <a:pPr marL="9525" marR="4343" lvl="0" algn="l" rtl="0">
              <a:spcBef>
                <a:spcPts val="0"/>
              </a:spcBef>
              <a:spcAft>
                <a:spcPts val="0"/>
              </a:spcAft>
              <a:buNone/>
              <a:tabLst>
                <a:tab pos="352425"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申込内容を確認で</a:t>
            </a:r>
            <a:endParaRPr lang="en-US" altLang="ja-JP" sz="1800" b="1" dirty="0">
              <a:solidFill>
                <a:schemeClr val="dk1"/>
              </a:solidFill>
              <a:latin typeface="Meiryo"/>
              <a:ea typeface="Meiryo"/>
              <a:cs typeface="Meiryo"/>
              <a:sym typeface="Meiryo"/>
            </a:endParaRPr>
          </a:p>
          <a:p>
            <a:pPr marL="9525" marR="4343" lvl="0" algn="l" rtl="0">
              <a:spcBef>
                <a:spcPts val="0"/>
              </a:spcBef>
              <a:spcAft>
                <a:spcPts val="0"/>
              </a:spcAft>
              <a:buNone/>
              <a:tabLst>
                <a:tab pos="352425" algn="l"/>
              </a:tabLst>
            </a:pPr>
            <a:r>
              <a:rPr lang="en-US" altLang="ja-JP" sz="1800" b="1" dirty="0">
                <a:solidFill>
                  <a:schemeClr val="dk1"/>
                </a:solidFill>
                <a:latin typeface="Meiryo"/>
                <a:ea typeface="Meiryo"/>
                <a:cs typeface="Meiryo"/>
                <a:sym typeface="Meiryo"/>
              </a:rPr>
              <a:t>	</a:t>
            </a:r>
            <a:r>
              <a:rPr lang="ja-JP" altLang="en-US" sz="1800" b="1" dirty="0">
                <a:solidFill>
                  <a:schemeClr val="dk1"/>
                </a:solidFill>
                <a:latin typeface="Meiryo"/>
                <a:ea typeface="Meiryo"/>
                <a:cs typeface="Meiryo"/>
                <a:sym typeface="Meiryo"/>
              </a:rPr>
              <a:t>完了</a:t>
            </a:r>
            <a:endParaRPr lang="en-US" altLang="ja-JP" sz="1800" b="1" dirty="0">
              <a:solidFill>
                <a:schemeClr val="dk1"/>
              </a:solidFill>
              <a:latin typeface="Meiryo"/>
              <a:ea typeface="Meiryo"/>
              <a:cs typeface="Meiryo"/>
              <a:sym typeface="Meiryo"/>
            </a:endParaRPr>
          </a:p>
        </p:txBody>
      </p:sp>
      <p:sp>
        <p:nvSpPr>
          <p:cNvPr id="2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2"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4</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診察の申込み</a:t>
            </a:r>
            <a:endParaRPr kumimoji="0" lang="ja-JP" altLang="en-US" sz="3200" b="0" kern="0" dirty="0"/>
          </a:p>
        </p:txBody>
      </p:sp>
      <p:pic>
        <p:nvPicPr>
          <p:cNvPr id="23" name="Google Shape;666;p19" descr="「申込を完了しました」と表示され、申込内容が表示されている画像"/>
          <p:cNvPicPr preferRelativeResize="0">
            <a:picLocks noChangeAspect="1"/>
          </p:cNvPicPr>
          <p:nvPr/>
        </p:nvPicPr>
        <p:blipFill>
          <a:blip r:embed="rId7">
            <a:alphaModFix/>
          </a:blip>
          <a:stretch>
            <a:fillRect/>
          </a:stretch>
        </p:blipFill>
        <p:spPr>
          <a:xfrm>
            <a:off x="6199843" y="1994678"/>
            <a:ext cx="1900104" cy="4140000"/>
          </a:xfrm>
          <a:prstGeom prst="rect">
            <a:avLst/>
          </a:prstGeom>
          <a:noFill/>
          <a:ln w="9525" cap="flat" cmpd="sng">
            <a:solidFill>
              <a:schemeClr val="tx1">
                <a:lumMod val="50000"/>
                <a:lumOff val="50000"/>
              </a:schemeClr>
            </a:solidFill>
            <a:prstDash val="solid"/>
            <a:miter lim="800000"/>
            <a:headEnd type="none" w="sm" len="sm"/>
            <a:tailEnd type="none" w="sm" len="sm"/>
          </a:ln>
        </p:spPr>
      </p:pic>
      <p:pic>
        <p:nvPicPr>
          <p:cNvPr id="24" name="Google Shape;667;p19" descr="予約内容画面を確認し「この内容で申し込む」をタップしている画像"/>
          <p:cNvPicPr preferRelativeResize="0">
            <a:picLocks noChangeAspect="1"/>
          </p:cNvPicPr>
          <p:nvPr/>
        </p:nvPicPr>
        <p:blipFill>
          <a:blip r:embed="rId8">
            <a:alphaModFix/>
          </a:blip>
          <a:stretch>
            <a:fillRect/>
          </a:stretch>
        </p:blipFill>
        <p:spPr>
          <a:xfrm>
            <a:off x="2952922" y="1994678"/>
            <a:ext cx="1811501" cy="4140000"/>
          </a:xfrm>
          <a:prstGeom prst="rect">
            <a:avLst/>
          </a:prstGeom>
          <a:noFill/>
          <a:ln w="9525" cap="flat" cmpd="sng">
            <a:solidFill>
              <a:schemeClr val="tx1">
                <a:lumMod val="50000"/>
                <a:lumOff val="50000"/>
              </a:schemeClr>
            </a:solidFill>
            <a:prstDash val="solid"/>
            <a:miter lim="800000"/>
            <a:headEnd type="none" w="sm" len="sm"/>
            <a:tailEnd type="none" w="sm" len="sm"/>
          </a:ln>
        </p:spPr>
      </p:pic>
      <p:sp>
        <p:nvSpPr>
          <p:cNvPr id="25" name="Google Shape;669;p19"/>
          <p:cNvSpPr txBox="1"/>
          <p:nvPr/>
        </p:nvSpPr>
        <p:spPr>
          <a:xfrm>
            <a:off x="2935032" y="1619979"/>
            <a:ext cx="1945888" cy="2264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Meiryo"/>
                <a:ea typeface="Meiryo"/>
                <a:cs typeface="Meiryo"/>
                <a:sym typeface="Meiryo"/>
              </a:rPr>
              <a:t>予約を確定する</a:t>
            </a:r>
            <a:endParaRPr sz="1400" b="1" i="0" u="none" strike="noStrike" cap="none">
              <a:solidFill>
                <a:srgbClr val="009650"/>
              </a:solidFill>
              <a:latin typeface="Meiryo"/>
              <a:ea typeface="Meiryo"/>
              <a:cs typeface="Meiryo"/>
              <a:sym typeface="Meiryo"/>
            </a:endParaRPr>
          </a:p>
        </p:txBody>
      </p:sp>
      <p:sp>
        <p:nvSpPr>
          <p:cNvPr id="26" name="Google Shape;671;p19"/>
          <p:cNvSpPr/>
          <p:nvPr/>
        </p:nvSpPr>
        <p:spPr>
          <a:xfrm>
            <a:off x="6258869" y="3739548"/>
            <a:ext cx="1764000" cy="140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7" name="Google Shape;675;p19"/>
          <p:cNvSpPr/>
          <p:nvPr/>
        </p:nvSpPr>
        <p:spPr>
          <a:xfrm>
            <a:off x="2979298" y="5711608"/>
            <a:ext cx="1728000" cy="36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28" name="図形グループ 27"/>
          <p:cNvGrpSpPr>
            <a:grpSpLocks noChangeAspect="1"/>
          </p:cNvGrpSpPr>
          <p:nvPr/>
        </p:nvGrpSpPr>
        <p:grpSpPr>
          <a:xfrm>
            <a:off x="5196435" y="3167090"/>
            <a:ext cx="720000" cy="540000"/>
            <a:chOff x="3355262" y="5469690"/>
            <a:chExt cx="720000" cy="540000"/>
          </a:xfrm>
        </p:grpSpPr>
        <p:cxnSp>
          <p:nvCxnSpPr>
            <p:cNvPr id="29" name="カギ線コネクタ 2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1" name="図形グループ 30"/>
          <p:cNvGrpSpPr/>
          <p:nvPr/>
        </p:nvGrpSpPr>
        <p:grpSpPr>
          <a:xfrm>
            <a:off x="6113998" y="3587210"/>
            <a:ext cx="296586" cy="293005"/>
            <a:chOff x="3546641" y="3995693"/>
            <a:chExt cx="296586" cy="293005"/>
          </a:xfrm>
        </p:grpSpPr>
        <p:sp>
          <p:nvSpPr>
            <p:cNvPr id="32" name="円/楕円 3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フリーフォーム 3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4" name="図形グループ 33"/>
          <p:cNvGrpSpPr/>
          <p:nvPr/>
        </p:nvGrpSpPr>
        <p:grpSpPr>
          <a:xfrm>
            <a:off x="2835873" y="5569518"/>
            <a:ext cx="296587" cy="293005"/>
            <a:chOff x="2897417" y="3995693"/>
            <a:chExt cx="296587" cy="293005"/>
          </a:xfrm>
        </p:grpSpPr>
        <p:sp>
          <p:nvSpPr>
            <p:cNvPr id="35" name="円/楕円 3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15"/>
        <p:cNvGrpSpPr/>
        <p:nvPr/>
      </p:nvGrpSpPr>
      <p:grpSpPr>
        <a:xfrm>
          <a:off x="0" y="0"/>
          <a:ext cx="0" cy="0"/>
          <a:chOff x="0" y="0"/>
          <a:chExt cx="0" cy="0"/>
        </a:xfrm>
      </p:grpSpPr>
      <p:pic>
        <p:nvPicPr>
          <p:cNvPr id="24" name="図 23" descr="「curonへようこそ」という件名のメール画面の「認証番号」を示した画像"/>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03900" y="1992245"/>
            <a:ext cx="1896650" cy="4140000"/>
          </a:xfrm>
          <a:prstGeom prst="rect">
            <a:avLst/>
          </a:prstGeom>
          <a:ln w="9525">
            <a:solidFill>
              <a:schemeClr val="tx1">
                <a:lumMod val="50000"/>
                <a:lumOff val="50000"/>
              </a:schemeClr>
            </a:solidFill>
          </a:ln>
        </p:spPr>
      </p:pic>
      <p:pic>
        <p:nvPicPr>
          <p:cNvPr id="3" name="図 2" descr="「curonへようこそ」という件名のメール画面の画像"/>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52601" y="1992245"/>
            <a:ext cx="1896650" cy="4140000"/>
          </a:xfrm>
          <a:prstGeom prst="rect">
            <a:avLst/>
          </a:prstGeom>
          <a:ln w="9525">
            <a:solidFill>
              <a:schemeClr val="tx1">
                <a:lumMod val="50000"/>
                <a:lumOff val="50000"/>
              </a:schemeClr>
            </a:solidFill>
          </a:ln>
        </p:spPr>
      </p:pic>
      <p:graphicFrame>
        <p:nvGraphicFramePr>
          <p:cNvPr id="2" name="オブジェクト 1" hidden="1">
            <a:extLst>
              <a:ext uri="{FF2B5EF4-FFF2-40B4-BE49-F238E27FC236}">
                <a16:creationId xmlns:a16="http://schemas.microsoft.com/office/drawing/2014/main" id="{582C692D-24EC-427C-A796-B23A317AB639}"/>
              </a:ext>
            </a:extLst>
          </p:cNvPr>
          <p:cNvGraphicFramePr>
            <a:graphicFrameLocks noChangeAspect="1"/>
          </p:cNvGraphicFramePr>
          <p:nvPr>
            <p:custDataLst>
              <p:tags r:id="rId2"/>
            </p:custDataLst>
            <p:extLst>
              <p:ext uri="{D42A27DB-BD31-4B8C-83A1-F6EECF244321}">
                <p14:modId xmlns:p14="http://schemas.microsoft.com/office/powerpoint/2010/main" val="1536175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0" name="think-cell スライド" r:id="rId6" imgW="353" imgH="353" progId="TCLayout.ActiveDocument.1">
                  <p:embed/>
                </p:oleObj>
              </mc:Choice>
              <mc:Fallback>
                <p:oleObj name="think-cell スライド" r:id="rId6" imgW="353" imgH="35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7" name="Google Shape;117;p5"/>
          <p:cNvSpPr txBox="1"/>
          <p:nvPr/>
        </p:nvSpPr>
        <p:spPr>
          <a:xfrm>
            <a:off x="2916613" y="1614698"/>
            <a:ext cx="1449600" cy="2265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Meiryo"/>
                <a:ea typeface="Meiryo"/>
                <a:cs typeface="Meiryo"/>
                <a:sym typeface="Meiryo"/>
              </a:rPr>
              <a:t>メールの画面です</a:t>
            </a:r>
            <a:endParaRPr sz="1400" b="0" i="0" u="none" strike="noStrike" cap="none">
              <a:solidFill>
                <a:srgbClr val="000000"/>
              </a:solidFill>
              <a:latin typeface="Arial"/>
              <a:ea typeface="Arial"/>
              <a:cs typeface="Arial"/>
              <a:sym typeface="Arial"/>
            </a:endParaRPr>
          </a:p>
        </p:txBody>
      </p:sp>
      <p:sp>
        <p:nvSpPr>
          <p:cNvPr id="118" name="Google Shape;118;p5"/>
          <p:cNvSpPr txBox="1"/>
          <p:nvPr/>
        </p:nvSpPr>
        <p:spPr>
          <a:xfrm>
            <a:off x="301282" y="1906833"/>
            <a:ext cx="2520000" cy="1343301"/>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47663" algn="l"/>
              </a:tabLst>
            </a:pPr>
            <a:r>
              <a:rPr lang="ja-JP" sz="2400" b="1" i="0" u="none" strike="noStrike" cap="none" dirty="0">
                <a:solidFill>
                  <a:srgbClr val="009650"/>
                </a:solidFill>
                <a:latin typeface="Meiryo"/>
                <a:ea typeface="Meiryo"/>
                <a:cs typeface="Meiryo"/>
                <a:sym typeface="Meiryo"/>
              </a:rPr>
              <a:t>❺</a:t>
            </a:r>
            <a:r>
              <a:rPr lang="en-US" altLang="ja-JP" sz="2400" b="1" i="0" u="none" strike="noStrike" cap="none"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メールを表示する</a:t>
            </a:r>
            <a:endParaRPr sz="1800" b="1"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sz="2400" b="1" i="0" u="none" strike="noStrike" cap="none" dirty="0">
                <a:solidFill>
                  <a:srgbClr val="009650"/>
                </a:solidFill>
                <a:latin typeface="Meiryo"/>
                <a:ea typeface="Meiryo"/>
                <a:cs typeface="Meiryo"/>
                <a:sym typeface="Meiryo"/>
              </a:rPr>
              <a:t>❻</a:t>
            </a:r>
            <a:r>
              <a:rPr lang="en-US" altLang="ja-JP" sz="2400" b="1" i="0" u="none" strike="noStrike" cap="none" dirty="0">
                <a:solidFill>
                  <a:srgbClr val="009650"/>
                </a:solidFill>
                <a:latin typeface="Meiryo"/>
                <a:ea typeface="Meiryo"/>
                <a:cs typeface="Meiryo"/>
                <a:sym typeface="Meiryo"/>
              </a:rPr>
              <a:t>	</a:t>
            </a:r>
            <a:r>
              <a:rPr lang="ja-JP" altLang="en-US" sz="1800" b="1" dirty="0">
                <a:solidFill>
                  <a:schemeClr val="tx1"/>
                </a:solidFill>
                <a:latin typeface="Meiryo"/>
                <a:ea typeface="Meiryo"/>
                <a:cs typeface="Meiryo"/>
                <a:sym typeface="Meiryo"/>
              </a:rPr>
              <a:t>メール</a:t>
            </a:r>
            <a:r>
              <a:rPr lang="ja-JP" sz="1800" b="1">
                <a:solidFill>
                  <a:schemeClr val="tx1"/>
                </a:solidFill>
                <a:latin typeface="Meiryo"/>
                <a:ea typeface="Meiryo"/>
                <a:cs typeface="Meiryo"/>
                <a:sym typeface="Meiryo"/>
              </a:rPr>
              <a:t>記載</a:t>
            </a:r>
            <a:r>
              <a:rPr lang="ja-JP" altLang="en-US" sz="1800" b="1">
                <a:solidFill>
                  <a:schemeClr val="tx1"/>
                </a:solidFill>
                <a:latin typeface="Meiryo"/>
                <a:ea typeface="Meiryo"/>
                <a:cs typeface="Meiryo"/>
                <a:sym typeface="Meiryo"/>
              </a:rPr>
              <a:t>の</a:t>
            </a:r>
            <a:r>
              <a:rPr lang="en-US" altLang="ja-JP" sz="1800" b="1">
                <a:solidFill>
                  <a:schemeClr val="tx1"/>
                </a:solidFill>
                <a:latin typeface="Meiryo"/>
                <a:ea typeface="Meiryo"/>
                <a:cs typeface="Meiryo"/>
                <a:sym typeface="Meiryo"/>
              </a:rPr>
              <a:t>	</a:t>
            </a:r>
          </a:p>
          <a:p>
            <a:pPr marL="9525" marR="4343" lvl="0" algn="l" rtl="0">
              <a:spcBef>
                <a:spcPts val="85"/>
              </a:spcBef>
              <a:spcAft>
                <a:spcPts val="0"/>
              </a:spcAft>
              <a:buClr>
                <a:srgbClr val="000000"/>
              </a:buClr>
              <a:buSzPts val="2400"/>
              <a:buFont typeface="Arial"/>
              <a:buNone/>
              <a:tabLst>
                <a:tab pos="347663" algn="l"/>
              </a:tabLst>
            </a:pPr>
            <a:r>
              <a:rPr lang="en-US" altLang="ja-JP" sz="1800" b="1">
                <a:solidFill>
                  <a:schemeClr val="tx1"/>
                </a:solidFill>
                <a:latin typeface="Meiryo"/>
                <a:ea typeface="Meiryo"/>
                <a:cs typeface="Meiryo"/>
                <a:sym typeface="Meiryo"/>
              </a:rPr>
              <a:t>	</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認証</a:t>
            </a:r>
            <a:r>
              <a:rPr lang="ja-JP" sz="1800" b="1" dirty="0">
                <a:solidFill>
                  <a:schemeClr val="dk1"/>
                </a:solidFill>
                <a:latin typeface="Meiryo"/>
                <a:ea typeface="Meiryo"/>
                <a:cs typeface="Meiryo"/>
                <a:sym typeface="Meiryo"/>
              </a:rPr>
              <a:t>番号</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a:t>
            </a:r>
            <a:endParaRPr lang="en-US" altLang="ja-JP" sz="1800" b="1"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確</a:t>
            </a:r>
            <a:r>
              <a:rPr lang="ja-JP" sz="1800" b="1" spc="-300" dirty="0">
                <a:solidFill>
                  <a:schemeClr val="dk1"/>
                </a:solidFill>
                <a:latin typeface="Meiryo"/>
                <a:ea typeface="Meiryo"/>
                <a:cs typeface="Meiryo"/>
                <a:sym typeface="Meiryo"/>
              </a:rPr>
              <a:t>認・</a:t>
            </a:r>
            <a:r>
              <a:rPr lang="ja-JP" sz="1800" b="1" dirty="0">
                <a:solidFill>
                  <a:schemeClr val="dk1"/>
                </a:solidFill>
                <a:latin typeface="Meiryo"/>
                <a:ea typeface="Meiryo"/>
                <a:cs typeface="Meiryo"/>
                <a:sym typeface="Meiryo"/>
              </a:rPr>
              <a:t>コピーする</a:t>
            </a:r>
            <a:endParaRPr sz="1800" b="1" dirty="0">
              <a:solidFill>
                <a:srgbClr val="313541"/>
              </a:solidFill>
            </a:endParaRPr>
          </a:p>
        </p:txBody>
      </p:sp>
      <p:sp>
        <p:nvSpPr>
          <p:cNvPr id="130" name="Google Shape;130;p5"/>
          <p:cNvSpPr/>
          <p:nvPr/>
        </p:nvSpPr>
        <p:spPr>
          <a:xfrm>
            <a:off x="6873852" y="4577463"/>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136" name="Google Shape;136;p5"/>
          <p:cNvSpPr/>
          <p:nvPr/>
        </p:nvSpPr>
        <p:spPr>
          <a:xfrm>
            <a:off x="6302384" y="3938994"/>
            <a:ext cx="576000" cy="21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7"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2</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curonに新規登</a:t>
            </a:r>
            <a:r>
              <a:rPr lang="ja-JP" altLang="ja-JP" sz="3200" spc="-1250" dirty="0">
                <a:latin typeface="Meiryo"/>
                <a:ea typeface="Meiryo"/>
                <a:cs typeface="Meiryo"/>
                <a:sym typeface="Meiryo"/>
              </a:rPr>
              <a:t>録</a:t>
            </a:r>
            <a:r>
              <a:rPr lang="ja-JP" altLang="en-US" sz="3200" b="0" dirty="0">
                <a:sym typeface="Meiryo"/>
              </a:rPr>
              <a:t>［</a:t>
            </a:r>
            <a:r>
              <a:rPr lang="en-US" altLang="ja-JP" sz="3200" dirty="0">
                <a:latin typeface="Meiryo"/>
                <a:ea typeface="Meiryo"/>
                <a:cs typeface="Meiryo"/>
                <a:sym typeface="Meiryo"/>
              </a:rPr>
              <a:t>2</a:t>
            </a:r>
            <a:r>
              <a:rPr lang="ja-JP" altLang="en-US" sz="3200" b="0" dirty="0">
                <a:sym typeface="Meiryo"/>
              </a:rPr>
              <a:t>］</a:t>
            </a:r>
            <a:endParaRPr kumimoji="0" lang="ja-JP" altLang="en-US" sz="3200" b="0" kern="0" dirty="0"/>
          </a:p>
        </p:txBody>
      </p:sp>
      <p:grpSp>
        <p:nvGrpSpPr>
          <p:cNvPr id="28" name="図形グループ 27"/>
          <p:cNvGrpSpPr>
            <a:grpSpLocks noChangeAspect="1"/>
          </p:cNvGrpSpPr>
          <p:nvPr/>
        </p:nvGrpSpPr>
        <p:grpSpPr>
          <a:xfrm>
            <a:off x="5196435" y="3167090"/>
            <a:ext cx="720000" cy="540000"/>
            <a:chOff x="3355262" y="5469690"/>
            <a:chExt cx="720000" cy="540000"/>
          </a:xfrm>
        </p:grpSpPr>
        <p:cxnSp>
          <p:nvCxnSpPr>
            <p:cNvPr id="29" name="カギ線コネクタ 2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1" name="図形グループ 30"/>
          <p:cNvGrpSpPr/>
          <p:nvPr/>
        </p:nvGrpSpPr>
        <p:grpSpPr>
          <a:xfrm>
            <a:off x="6150979" y="3786467"/>
            <a:ext cx="296586" cy="293005"/>
            <a:chOff x="6801905" y="3995693"/>
            <a:chExt cx="296586" cy="293005"/>
          </a:xfrm>
        </p:grpSpPr>
        <p:sp>
          <p:nvSpPr>
            <p:cNvPr id="32" name="円/楕円 31"/>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フリーフォーム 32"/>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4" name="図形グループ 33"/>
          <p:cNvGrpSpPr/>
          <p:nvPr/>
        </p:nvGrpSpPr>
        <p:grpSpPr>
          <a:xfrm>
            <a:off x="2801945" y="1849174"/>
            <a:ext cx="296586" cy="293005"/>
            <a:chOff x="5878361" y="3995693"/>
            <a:chExt cx="296586" cy="293005"/>
          </a:xfrm>
        </p:grpSpPr>
        <p:sp>
          <p:nvSpPr>
            <p:cNvPr id="35" name="円/楕円 34"/>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フリーフォーム 35"/>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331"/>
        <p:cNvGrpSpPr/>
        <p:nvPr/>
      </p:nvGrpSpPr>
      <p:grpSpPr>
        <a:xfrm>
          <a:off x="0" y="0"/>
          <a:ext cx="0" cy="0"/>
          <a:chOff x="0" y="0"/>
          <a:chExt cx="0" cy="0"/>
        </a:xfrm>
      </p:grpSpPr>
      <p:sp>
        <p:nvSpPr>
          <p:cNvPr id="1332" name="Google Shape;1332;p27"/>
          <p:cNvSpPr txBox="1"/>
          <p:nvPr/>
        </p:nvSpPr>
        <p:spPr>
          <a:xfrm>
            <a:off x="617077" y="1417320"/>
            <a:ext cx="7438787" cy="287965"/>
          </a:xfrm>
          <a:prstGeom prst="rect">
            <a:avLst/>
          </a:prstGeom>
          <a:noFill/>
          <a:ln>
            <a:noFill/>
          </a:ln>
        </p:spPr>
        <p:txBody>
          <a:bodyPr spcFirstLastPara="1" wrap="square" lIns="0" tIns="10850" rIns="0" bIns="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ja-JP" sz="1800" b="1" i="0" u="none" strike="noStrike" cap="none">
                <a:solidFill>
                  <a:srgbClr val="009650"/>
                </a:solidFill>
                <a:latin typeface="Meiryo"/>
                <a:ea typeface="Meiryo"/>
                <a:cs typeface="Meiryo"/>
                <a:sym typeface="Meiryo"/>
              </a:rPr>
              <a:t>Androidの場合</a:t>
            </a:r>
            <a:endParaRPr sz="1400" b="0" i="0" u="none" strike="noStrike" cap="none">
              <a:solidFill>
                <a:srgbClr val="00B0F0"/>
              </a:solidFill>
              <a:latin typeface="Calibri"/>
              <a:ea typeface="Calibri"/>
              <a:cs typeface="Calibri"/>
              <a:sym typeface="Calibri"/>
            </a:endParaRPr>
          </a:p>
        </p:txBody>
      </p:sp>
      <p:sp>
        <p:nvSpPr>
          <p:cNvPr id="1334" name="Google Shape;1334;p27"/>
          <p:cNvSpPr txBox="1"/>
          <p:nvPr/>
        </p:nvSpPr>
        <p:spPr>
          <a:xfrm>
            <a:off x="601837" y="5944689"/>
            <a:ext cx="7200000" cy="226400"/>
          </a:xfrm>
          <a:prstGeom prst="rect">
            <a:avLst/>
          </a:prstGeom>
          <a:noFill/>
          <a:ln>
            <a:noFill/>
          </a:ln>
        </p:spPr>
        <p:txBody>
          <a:bodyPr spcFirstLastPara="1" wrap="square" lIns="0" tIns="1085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Meiryo"/>
                <a:ea typeface="Meiryo"/>
                <a:cs typeface="Meiryo"/>
                <a:sym typeface="Meiryo"/>
              </a:rPr>
              <a:t>医療機関から通知の来る前にアプリのPush通知機能をオンにしておきましょう。</a:t>
            </a:r>
            <a:endParaRPr sz="1400" b="0" i="0" u="none" strike="noStrike" cap="none">
              <a:solidFill>
                <a:srgbClr val="000000"/>
              </a:solidFill>
              <a:latin typeface="Arial"/>
              <a:ea typeface="Arial"/>
              <a:cs typeface="Arial"/>
              <a:sym typeface="Arial"/>
            </a:endParaRPr>
          </a:p>
        </p:txBody>
      </p:sp>
      <p:sp>
        <p:nvSpPr>
          <p:cNvPr id="1336" name="Google Shape;1336;p27" descr="スマートフォンのホーム画面の「設定」をタップしている画像"/>
          <p:cNvSpPr>
            <a:spLocks noChangeAspect="1"/>
          </p:cNvSpPr>
          <p:nvPr/>
        </p:nvSpPr>
        <p:spPr>
          <a:xfrm>
            <a:off x="609597" y="2789768"/>
            <a:ext cx="1132265" cy="2160000"/>
          </a:xfrm>
          <a:prstGeom prst="rect">
            <a:avLst/>
          </a:prstGeom>
          <a:blipFill rotWithShape="1">
            <a:blip r:embed="rId3">
              <a:alphaModFix/>
            </a:blip>
            <a:stretch>
              <a:fillRect/>
            </a:stretch>
          </a:blipFill>
          <a:ln w="9525" cap="flat" cmpd="sng">
            <a:no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1381" name="Google Shape;1381;p27"/>
          <p:cNvSpPr/>
          <p:nvPr/>
        </p:nvSpPr>
        <p:spPr>
          <a:xfrm>
            <a:off x="1402698" y="3883970"/>
            <a:ext cx="360000" cy="360000"/>
          </a:xfrm>
          <a:prstGeom prst="rect">
            <a:avLst/>
          </a:prstGeom>
          <a:noFill/>
          <a:ln w="28575" cap="flat" cmpd="sng">
            <a:solidFill>
              <a:srgbClr val="FF0000"/>
            </a:solidFill>
            <a:prstDash val="solid"/>
            <a:miter lim="800000"/>
            <a:headEnd type="none" w="sm" len="sm"/>
            <a:tailEnd type="none" w="sm" len="sm"/>
          </a:ln>
          <a:effectLst>
            <a:glow rad="63500">
              <a:schemeClr val="bg1"/>
            </a:glo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5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58"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a:t> </a:t>
            </a:r>
            <a:br>
              <a:rPr lang="en-US" altLang="ja-JP" sz="1800" dirty="0"/>
            </a:br>
            <a:r>
              <a:rPr lang="en-US" altLang="ja-JP" sz="3200" dirty="0">
                <a:latin typeface="Meiryo"/>
                <a:ea typeface="Meiryo"/>
                <a:cs typeface="Meiryo"/>
                <a:sym typeface="Meiryo"/>
              </a:rPr>
              <a:t>【15</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アプリ通知ONの設</a:t>
            </a:r>
            <a:r>
              <a:rPr lang="ja-JP" altLang="ja-JP" sz="3200" spc="-1250" dirty="0">
                <a:latin typeface="Meiryo"/>
                <a:ea typeface="Meiryo"/>
                <a:cs typeface="Meiryo"/>
                <a:sym typeface="Meiryo"/>
              </a:rPr>
              <a:t>定</a:t>
            </a:r>
            <a:r>
              <a:rPr lang="ja-JP" altLang="en-US" sz="3200" b="0" dirty="0">
                <a:sym typeface="Meiryo"/>
              </a:rPr>
              <a:t>［</a:t>
            </a:r>
            <a:r>
              <a:rPr lang="en-US" altLang="ja-JP" sz="3200" dirty="0">
                <a:latin typeface="Meiryo"/>
                <a:ea typeface="Meiryo"/>
                <a:cs typeface="Meiryo"/>
                <a:sym typeface="Meiryo"/>
              </a:rPr>
              <a:t>1</a:t>
            </a:r>
            <a:r>
              <a:rPr lang="ja-JP" altLang="en-US" sz="3200" b="0" dirty="0">
                <a:sym typeface="Meiryo"/>
              </a:rPr>
              <a:t>］</a:t>
            </a:r>
            <a:endParaRPr kumimoji="0" lang="ja-JP" altLang="en-US" sz="3200" b="0" kern="0" dirty="0"/>
          </a:p>
        </p:txBody>
      </p:sp>
      <p:sp>
        <p:nvSpPr>
          <p:cNvPr id="57" name="Google Shape;1393;p28"/>
          <p:cNvSpPr txBox="1"/>
          <p:nvPr/>
        </p:nvSpPr>
        <p:spPr>
          <a:xfrm>
            <a:off x="583302" y="1719616"/>
            <a:ext cx="2160000" cy="738664"/>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❶</a:t>
            </a:r>
            <a:r>
              <a:rPr lang="en-US" altLang="ja-JP" sz="1800" b="1" i="0" u="none" strike="noStrike" cap="none" dirty="0">
                <a:solidFill>
                  <a:schemeClr val="dk1"/>
                </a:solidFill>
                <a:latin typeface="Meiryo"/>
                <a:ea typeface="Meiryo"/>
                <a:cs typeface="Meiryo"/>
                <a:sym typeface="Meiryo"/>
              </a:rPr>
              <a:t>	</a:t>
            </a:r>
          </a:p>
          <a:p>
            <a:pPr marL="12700" marR="0" lvl="0" algn="l" rtl="0">
              <a:lnSpc>
                <a:spcPct val="80000"/>
              </a:lnSpc>
              <a:spcBef>
                <a:spcPts val="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altLang="en-US" sz="1800" b="1" dirty="0">
                <a:solidFill>
                  <a:schemeClr val="dk1"/>
                </a:solidFill>
                <a:latin typeface="Meiryo"/>
                <a:ea typeface="Meiryo"/>
                <a:cs typeface="Meiryo"/>
                <a:sym typeface="Meiryo"/>
              </a:rPr>
              <a:t>設定</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a:t>
            </a:r>
            <a:endParaRPr lang="en-US" altLang="ja-JP" sz="1800" b="1" i="0" u="none" strike="noStrike" cap="none" dirty="0">
              <a:solidFill>
                <a:schemeClr val="dk1"/>
              </a:solidFill>
              <a:latin typeface="Meiryo"/>
              <a:ea typeface="Meiryo"/>
              <a:cs typeface="Meiryo"/>
              <a:sym typeface="Meiryo"/>
            </a:endParaRPr>
          </a:p>
          <a:p>
            <a:pPr marL="12700" marR="0" lvl="0" algn="l" rtl="0">
              <a:lnSpc>
                <a:spcPct val="80000"/>
              </a:lnSpc>
              <a:spcBef>
                <a:spcPts val="0"/>
              </a:spcBef>
              <a:spcAft>
                <a:spcPts val="0"/>
              </a:spcAft>
              <a:buClr>
                <a:srgbClr val="000000"/>
              </a:buClr>
              <a:buSzPts val="2400"/>
              <a:buFont typeface="Arial"/>
              <a:buNone/>
              <a:tabLst>
                <a:tab pos="355600" algn="l"/>
              </a:tabLst>
            </a:pPr>
            <a:r>
              <a:rPr lang="ja-JP" sz="1800" b="1" i="0" u="none" strike="noStrike" cap="none" dirty="0">
                <a:solidFill>
                  <a:schemeClr val="dk1"/>
                </a:solidFill>
                <a:latin typeface="Meiryo"/>
                <a:ea typeface="Meiryo"/>
                <a:cs typeface="Meiryo"/>
                <a:sym typeface="Meiryo"/>
              </a:rPr>
              <a:t>タップ</a:t>
            </a:r>
            <a:endParaRPr sz="1800" b="1" i="0" u="none" strike="noStrike" cap="none" dirty="0">
              <a:solidFill>
                <a:schemeClr val="dk1"/>
              </a:solidFill>
              <a:latin typeface="Meiryo"/>
              <a:ea typeface="Meiryo"/>
              <a:cs typeface="Meiryo"/>
              <a:sym typeface="Meiryo"/>
            </a:endParaRPr>
          </a:p>
        </p:txBody>
      </p:sp>
      <p:sp>
        <p:nvSpPr>
          <p:cNvPr id="59" name="Google Shape;1393;p28"/>
          <p:cNvSpPr txBox="1"/>
          <p:nvPr/>
        </p:nvSpPr>
        <p:spPr>
          <a:xfrm>
            <a:off x="2200429" y="1719616"/>
            <a:ext cx="2160000" cy="777136"/>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p>
          <a:p>
            <a:pPr marL="12700" marR="0" lvl="0" algn="l" rtl="0">
              <a:lnSpc>
                <a:spcPct val="80000"/>
              </a:lnSpc>
              <a:spcBef>
                <a:spcPts val="1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altLang="en-US" sz="1800" b="1" i="0" u="none" strike="noStrike" cap="none" dirty="0">
                <a:solidFill>
                  <a:schemeClr val="dk1"/>
                </a:solidFill>
                <a:latin typeface="Meiryo"/>
                <a:ea typeface="Meiryo"/>
                <a:cs typeface="Meiryo"/>
                <a:sym typeface="Meiryo"/>
              </a:rPr>
              <a:t>アプリ</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a:t>
            </a:r>
            <a:endParaRPr lang="en-US" altLang="ja-JP" sz="1800" b="1" i="0" u="none" strike="noStrike" cap="none" dirty="0">
              <a:solidFill>
                <a:schemeClr val="dk1"/>
              </a:solidFill>
              <a:latin typeface="Meiryo"/>
              <a:ea typeface="Meiryo"/>
              <a:cs typeface="Meiryo"/>
              <a:sym typeface="Meiryo"/>
            </a:endParaRPr>
          </a:p>
          <a:p>
            <a:pPr marL="12700" marR="0" lvl="0" algn="l" rtl="0">
              <a:lnSpc>
                <a:spcPct val="80000"/>
              </a:lnSpc>
              <a:spcBef>
                <a:spcPts val="100"/>
              </a:spcBef>
              <a:spcAft>
                <a:spcPts val="0"/>
              </a:spcAft>
              <a:buClr>
                <a:srgbClr val="000000"/>
              </a:buClr>
              <a:buSzPts val="2400"/>
              <a:buFont typeface="Arial"/>
              <a:buNone/>
              <a:tabLst>
                <a:tab pos="355600" algn="l"/>
              </a:tabLst>
            </a:pPr>
            <a:r>
              <a:rPr lang="ja-JP" sz="1800" b="1" i="0" u="none" strike="noStrike" cap="none" dirty="0">
                <a:solidFill>
                  <a:schemeClr val="dk1"/>
                </a:solidFill>
                <a:latin typeface="Meiryo"/>
                <a:ea typeface="Meiryo"/>
                <a:cs typeface="Meiryo"/>
                <a:sym typeface="Meiryo"/>
              </a:rPr>
              <a:t>タップ</a:t>
            </a:r>
            <a:endParaRPr sz="1400" b="0" i="0" u="none" strike="noStrike" cap="none" dirty="0">
              <a:solidFill>
                <a:srgbClr val="000000"/>
              </a:solidFill>
              <a:latin typeface="Arial"/>
              <a:ea typeface="Arial"/>
              <a:cs typeface="Arial"/>
              <a:sym typeface="Arial"/>
            </a:endParaRPr>
          </a:p>
        </p:txBody>
      </p:sp>
      <p:sp>
        <p:nvSpPr>
          <p:cNvPr id="60" name="Google Shape;1393;p28"/>
          <p:cNvSpPr txBox="1"/>
          <p:nvPr/>
        </p:nvSpPr>
        <p:spPr>
          <a:xfrm>
            <a:off x="3817784" y="1719616"/>
            <a:ext cx="2160000" cy="777136"/>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❸</a:t>
            </a:r>
            <a:r>
              <a:rPr lang="en-US" altLang="ja-JP" sz="2400" b="1" i="0" u="none" strike="noStrike" cap="none" dirty="0">
                <a:solidFill>
                  <a:srgbClr val="009650"/>
                </a:solidFill>
                <a:latin typeface="Meiryo"/>
                <a:ea typeface="Meiryo"/>
                <a:cs typeface="Meiryo"/>
                <a:sym typeface="Meiryo"/>
              </a:rPr>
              <a:t>	</a:t>
            </a:r>
          </a:p>
          <a:p>
            <a:pPr marL="12700" marR="0" lvl="0" algn="l" rtl="0">
              <a:lnSpc>
                <a:spcPct val="80000"/>
              </a:lnSpc>
              <a:spcBef>
                <a:spcPts val="1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クロン</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a:t>
            </a:r>
            <a:endParaRPr lang="en-US" altLang="ja-JP" sz="1800" b="1" i="0" u="none" strike="noStrike" cap="none" dirty="0">
              <a:solidFill>
                <a:schemeClr val="dk1"/>
              </a:solidFill>
              <a:latin typeface="Meiryo"/>
              <a:ea typeface="Meiryo"/>
              <a:cs typeface="Meiryo"/>
              <a:sym typeface="Meiryo"/>
            </a:endParaRPr>
          </a:p>
          <a:p>
            <a:pPr marL="12700" marR="0" lvl="0" algn="l" rtl="0">
              <a:lnSpc>
                <a:spcPct val="80000"/>
              </a:lnSpc>
              <a:spcBef>
                <a:spcPts val="100"/>
              </a:spcBef>
              <a:spcAft>
                <a:spcPts val="0"/>
              </a:spcAft>
              <a:buClr>
                <a:srgbClr val="000000"/>
              </a:buClr>
              <a:buSzPts val="2400"/>
              <a:buFont typeface="Arial"/>
              <a:buNone/>
              <a:tabLst>
                <a:tab pos="355600" algn="l"/>
              </a:tabLst>
            </a:pPr>
            <a:r>
              <a:rPr lang="ja-JP" sz="1800" b="1" i="0" u="none" strike="noStrike" cap="none" dirty="0">
                <a:solidFill>
                  <a:schemeClr val="dk1"/>
                </a:solidFill>
                <a:latin typeface="Meiryo"/>
                <a:ea typeface="Meiryo"/>
                <a:cs typeface="Meiryo"/>
                <a:sym typeface="Meiryo"/>
              </a:rPr>
              <a:t>タップ</a:t>
            </a:r>
            <a:endParaRPr sz="1400" b="0" i="0" u="none" strike="noStrike" cap="none" dirty="0">
              <a:solidFill>
                <a:srgbClr val="000000"/>
              </a:solidFill>
              <a:latin typeface="Arial"/>
              <a:ea typeface="Arial"/>
              <a:cs typeface="Arial"/>
              <a:sym typeface="Arial"/>
            </a:endParaRPr>
          </a:p>
        </p:txBody>
      </p:sp>
      <p:sp>
        <p:nvSpPr>
          <p:cNvPr id="61" name="Google Shape;1393;p28"/>
          <p:cNvSpPr txBox="1"/>
          <p:nvPr/>
        </p:nvSpPr>
        <p:spPr>
          <a:xfrm>
            <a:off x="5434922" y="1719616"/>
            <a:ext cx="2160000" cy="777136"/>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altLang="en-US" sz="2400" b="1" i="0" u="none" strike="noStrike" cap="none" dirty="0">
                <a:solidFill>
                  <a:srgbClr val="009650"/>
                </a:solidFill>
                <a:latin typeface="Meiryo"/>
                <a:ea typeface="Meiryo"/>
                <a:cs typeface="Meiryo"/>
                <a:sym typeface="Meiryo"/>
              </a:rPr>
              <a:t>❹</a:t>
            </a:r>
            <a:r>
              <a:rPr lang="en-US" altLang="ja-JP" sz="2400" b="1" i="0" u="none" strike="noStrike" cap="none" dirty="0">
                <a:solidFill>
                  <a:srgbClr val="009650"/>
                </a:solidFill>
                <a:latin typeface="Meiryo"/>
                <a:ea typeface="Meiryo"/>
                <a:cs typeface="Meiryo"/>
                <a:sym typeface="Meiryo"/>
              </a:rPr>
              <a:t>	</a:t>
            </a:r>
          </a:p>
          <a:p>
            <a:pPr marL="12700" marR="0" lvl="0" algn="l" rtl="0">
              <a:lnSpc>
                <a:spcPct val="80000"/>
              </a:lnSpc>
              <a:spcBef>
                <a:spcPts val="1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altLang="en-US" sz="1800" b="1" i="0" u="none" strike="noStrike" cap="none" dirty="0">
                <a:solidFill>
                  <a:schemeClr val="dk1"/>
                </a:solidFill>
                <a:latin typeface="Meiryo"/>
                <a:ea typeface="Meiryo"/>
                <a:cs typeface="Meiryo"/>
                <a:sym typeface="Meiryo"/>
              </a:rPr>
              <a:t>通知</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a:t>
            </a:r>
            <a:endParaRPr lang="en-US" altLang="ja-JP" sz="1800" b="1" i="0" u="none" strike="noStrike" cap="none" dirty="0">
              <a:solidFill>
                <a:schemeClr val="dk1"/>
              </a:solidFill>
              <a:latin typeface="Meiryo"/>
              <a:ea typeface="Meiryo"/>
              <a:cs typeface="Meiryo"/>
              <a:sym typeface="Meiryo"/>
            </a:endParaRPr>
          </a:p>
          <a:p>
            <a:pPr marL="12700" marR="0" lvl="0" algn="l" rtl="0">
              <a:lnSpc>
                <a:spcPct val="80000"/>
              </a:lnSpc>
              <a:spcBef>
                <a:spcPts val="100"/>
              </a:spcBef>
              <a:spcAft>
                <a:spcPts val="0"/>
              </a:spcAft>
              <a:buClr>
                <a:srgbClr val="000000"/>
              </a:buClr>
              <a:buSzPts val="2400"/>
              <a:buFont typeface="Arial"/>
              <a:buNone/>
              <a:tabLst>
                <a:tab pos="355600" algn="l"/>
              </a:tabLst>
            </a:pPr>
            <a:r>
              <a:rPr lang="ja-JP" sz="1800" b="1" i="0" u="none" strike="noStrike" cap="none" dirty="0">
                <a:solidFill>
                  <a:schemeClr val="dk1"/>
                </a:solidFill>
                <a:latin typeface="Meiryo"/>
                <a:ea typeface="Meiryo"/>
                <a:cs typeface="Meiryo"/>
                <a:sym typeface="Meiryo"/>
              </a:rPr>
              <a:t>タップ</a:t>
            </a:r>
            <a:endParaRPr sz="1400" b="0" i="0" u="none" strike="noStrike" cap="none" dirty="0">
              <a:solidFill>
                <a:srgbClr val="000000"/>
              </a:solidFill>
              <a:latin typeface="Arial"/>
              <a:ea typeface="Arial"/>
              <a:cs typeface="Arial"/>
              <a:sym typeface="Arial"/>
            </a:endParaRPr>
          </a:p>
        </p:txBody>
      </p:sp>
      <p:sp>
        <p:nvSpPr>
          <p:cNvPr id="62" name="Google Shape;1393;p28"/>
          <p:cNvSpPr txBox="1"/>
          <p:nvPr/>
        </p:nvSpPr>
        <p:spPr>
          <a:xfrm>
            <a:off x="7060525" y="1719616"/>
            <a:ext cx="2160000" cy="777136"/>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altLang="en-US" sz="2400" b="1" i="0" u="none" strike="noStrike" cap="none" dirty="0">
                <a:solidFill>
                  <a:srgbClr val="009650"/>
                </a:solidFill>
                <a:latin typeface="Meiryo"/>
                <a:ea typeface="Meiryo"/>
                <a:cs typeface="Meiryo"/>
                <a:sym typeface="Meiryo"/>
              </a:rPr>
              <a:t>❺</a:t>
            </a:r>
            <a:r>
              <a:rPr lang="en-US" altLang="ja-JP" sz="2400" b="1" i="0" u="none" strike="noStrike" cap="none" dirty="0">
                <a:solidFill>
                  <a:srgbClr val="009650"/>
                </a:solidFill>
                <a:latin typeface="Meiryo"/>
                <a:ea typeface="Meiryo"/>
                <a:cs typeface="Meiryo"/>
                <a:sym typeface="Meiryo"/>
              </a:rPr>
              <a:t>	</a:t>
            </a:r>
          </a:p>
          <a:p>
            <a:pPr marL="12700" lvl="0">
              <a:lnSpc>
                <a:spcPct val="80000"/>
              </a:lnSpc>
              <a:spcBef>
                <a:spcPts val="100"/>
              </a:spcBef>
              <a:buSzPts val="2400"/>
              <a:tabLst>
                <a:tab pos="355600" algn="l"/>
              </a:tabLst>
            </a:pPr>
            <a:r>
              <a:rPr lang="en-US" altLang="ja-JP" sz="1800" b="1" i="0" u="none" strike="noStrike" cap="none" dirty="0">
                <a:solidFill>
                  <a:schemeClr val="dk1"/>
                </a:solidFill>
                <a:latin typeface="Meiryo"/>
                <a:ea typeface="Meiryo"/>
                <a:cs typeface="Meiryo"/>
                <a:sym typeface="Meiryo"/>
              </a:rPr>
              <a:t>｢</a:t>
            </a:r>
            <a:r>
              <a:rPr lang="ja-JP" altLang="ja-JP" sz="1800" b="1" spc="-150">
                <a:solidFill>
                  <a:schemeClr val="dk1"/>
                </a:solidFill>
                <a:latin typeface="Meiryo"/>
                <a:ea typeface="Meiryo"/>
                <a:cs typeface="Meiryo"/>
                <a:sym typeface="Meiryo"/>
              </a:rPr>
              <a:t>すべて</a:t>
            </a:r>
            <a:r>
              <a:rPr lang="ja-JP" altLang="ja-JP" sz="1800" b="1" spc="-150" dirty="0">
                <a:solidFill>
                  <a:schemeClr val="dk1"/>
                </a:solidFill>
                <a:latin typeface="Meiryo"/>
                <a:ea typeface="Meiryo"/>
                <a:cs typeface="Meiryo"/>
                <a:sym typeface="Meiryo"/>
              </a:rPr>
              <a:t>ブロック</a:t>
            </a:r>
            <a:r>
              <a:rPr lang="en-US" altLang="ja-JP" sz="1800" b="1" i="0" u="none" strike="noStrike" cap="none" dirty="0">
                <a:solidFill>
                  <a:schemeClr val="dk1"/>
                </a:solidFill>
                <a:latin typeface="Meiryo"/>
                <a:ea typeface="Meiryo"/>
                <a:cs typeface="Meiryo"/>
                <a:sym typeface="Meiryo"/>
              </a:rPr>
              <a:t>｣</a:t>
            </a:r>
          </a:p>
          <a:p>
            <a:pPr marL="12700" lvl="0">
              <a:lnSpc>
                <a:spcPct val="80000"/>
              </a:lnSpc>
              <a:spcBef>
                <a:spcPts val="100"/>
              </a:spcBef>
              <a:buSzPts val="2400"/>
              <a:tabLst>
                <a:tab pos="355600" algn="l"/>
              </a:tabLst>
            </a:pPr>
            <a:r>
              <a:rPr lang="ja-JP" sz="1800" b="1" i="0" u="none" strike="noStrike" cap="none" dirty="0">
                <a:solidFill>
                  <a:schemeClr val="dk1"/>
                </a:solidFill>
                <a:latin typeface="Meiryo"/>
                <a:ea typeface="Meiryo"/>
                <a:cs typeface="Meiryo"/>
                <a:sym typeface="Meiryo"/>
              </a:rPr>
              <a:t>を</a:t>
            </a:r>
            <a:r>
              <a:rPr lang="ja-JP" altLang="en-US" sz="1800" b="1" i="0" u="none" strike="noStrike" cap="none" dirty="0">
                <a:solidFill>
                  <a:schemeClr val="dk1"/>
                </a:solidFill>
                <a:latin typeface="Meiryo"/>
                <a:ea typeface="Meiryo"/>
                <a:cs typeface="Meiryo"/>
                <a:sym typeface="Meiryo"/>
              </a:rPr>
              <a:t>オフ</a:t>
            </a:r>
            <a:endParaRPr sz="1400" b="0" i="0" u="none" strike="noStrike" cap="none" dirty="0">
              <a:solidFill>
                <a:srgbClr val="000000"/>
              </a:solidFill>
              <a:latin typeface="Arial"/>
              <a:ea typeface="Arial"/>
              <a:cs typeface="Arial"/>
              <a:sym typeface="Arial"/>
            </a:endParaRPr>
          </a:p>
        </p:txBody>
      </p:sp>
      <p:grpSp>
        <p:nvGrpSpPr>
          <p:cNvPr id="63" name="図形グループ 62"/>
          <p:cNvGrpSpPr>
            <a:grpSpLocks noChangeAspect="1"/>
          </p:cNvGrpSpPr>
          <p:nvPr/>
        </p:nvGrpSpPr>
        <p:grpSpPr>
          <a:xfrm>
            <a:off x="3404258" y="3304349"/>
            <a:ext cx="360000" cy="270000"/>
            <a:chOff x="3355262" y="5469690"/>
            <a:chExt cx="720000" cy="540000"/>
          </a:xfrm>
        </p:grpSpPr>
        <p:cxnSp>
          <p:nvCxnSpPr>
            <p:cNvPr id="64" name="カギ線コネクタ 63"/>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66" name="図形グループ 65"/>
          <p:cNvGrpSpPr>
            <a:grpSpLocks noChangeAspect="1"/>
          </p:cNvGrpSpPr>
          <p:nvPr/>
        </p:nvGrpSpPr>
        <p:grpSpPr>
          <a:xfrm>
            <a:off x="5019763" y="3304349"/>
            <a:ext cx="360000" cy="270000"/>
            <a:chOff x="3355262" y="5469690"/>
            <a:chExt cx="720000" cy="540000"/>
          </a:xfrm>
        </p:grpSpPr>
        <p:cxnSp>
          <p:nvCxnSpPr>
            <p:cNvPr id="67" name="カギ線コネクタ 66"/>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69" name="図形グループ 68"/>
          <p:cNvGrpSpPr>
            <a:grpSpLocks noChangeAspect="1"/>
          </p:cNvGrpSpPr>
          <p:nvPr/>
        </p:nvGrpSpPr>
        <p:grpSpPr>
          <a:xfrm>
            <a:off x="1795590" y="3304349"/>
            <a:ext cx="360000" cy="270000"/>
            <a:chOff x="3355262" y="5469690"/>
            <a:chExt cx="720000" cy="540000"/>
          </a:xfrm>
        </p:grpSpPr>
        <p:cxnSp>
          <p:nvCxnSpPr>
            <p:cNvPr id="70" name="カギ線コネクタ 69"/>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72" name="図形グループ 71"/>
          <p:cNvGrpSpPr>
            <a:grpSpLocks noChangeAspect="1"/>
          </p:cNvGrpSpPr>
          <p:nvPr/>
        </p:nvGrpSpPr>
        <p:grpSpPr>
          <a:xfrm>
            <a:off x="6645367" y="3304349"/>
            <a:ext cx="360000" cy="270000"/>
            <a:chOff x="3355262" y="5469690"/>
            <a:chExt cx="720000" cy="540000"/>
          </a:xfrm>
        </p:grpSpPr>
        <p:cxnSp>
          <p:nvCxnSpPr>
            <p:cNvPr id="73" name="カギ線コネクタ 7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グループ化 4" descr="通知画面で「すべてブロック」をオフにしている画像">
            <a:extLst>
              <a:ext uri="{FF2B5EF4-FFF2-40B4-BE49-F238E27FC236}">
                <a16:creationId xmlns:a16="http://schemas.microsoft.com/office/drawing/2014/main" id="{1A2831FF-6F0E-4684-A7E5-E275A3889FCE}"/>
              </a:ext>
            </a:extLst>
          </p:cNvPr>
          <p:cNvGrpSpPr/>
          <p:nvPr/>
        </p:nvGrpSpPr>
        <p:grpSpPr>
          <a:xfrm>
            <a:off x="6919746" y="2789768"/>
            <a:ext cx="1398885" cy="2160000"/>
            <a:chOff x="6919746" y="2789768"/>
            <a:chExt cx="1398885" cy="2160000"/>
          </a:xfrm>
        </p:grpSpPr>
        <p:sp>
          <p:nvSpPr>
            <p:cNvPr id="1344" name="Google Shape;1344;p27"/>
            <p:cNvSpPr>
              <a:spLocks noChangeAspect="1"/>
            </p:cNvSpPr>
            <p:nvPr/>
          </p:nvSpPr>
          <p:spPr>
            <a:xfrm>
              <a:off x="7096265" y="2791312"/>
              <a:ext cx="1196072" cy="2102400"/>
            </a:xfrm>
            <a:prstGeom prst="rect">
              <a:avLst/>
            </a:prstGeom>
            <a:blipFill rotWithShape="1">
              <a:blip r:embed="rId4">
                <a:alphaModFix/>
              </a:blip>
              <a:stretch>
                <a:fillRect/>
              </a:stretch>
            </a:blipFill>
            <a:ln w="9525">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1345" name="Google Shape;1345;p27"/>
            <p:cNvSpPr/>
            <p:nvPr/>
          </p:nvSpPr>
          <p:spPr>
            <a:xfrm>
              <a:off x="7095010" y="2789768"/>
              <a:ext cx="1191600" cy="2160000"/>
            </a:xfrm>
            <a:custGeom>
              <a:avLst/>
              <a:gdLst/>
              <a:ahLst/>
              <a:cxnLst/>
              <a:rect l="l" t="t" r="r" b="b"/>
              <a:pathLst>
                <a:path w="1129665" h="2132329" extrusionOk="0">
                  <a:moveTo>
                    <a:pt x="0" y="0"/>
                  </a:moveTo>
                  <a:lnTo>
                    <a:pt x="1129284" y="0"/>
                  </a:lnTo>
                  <a:lnTo>
                    <a:pt x="1129284" y="2132075"/>
                  </a:lnTo>
                  <a:lnTo>
                    <a:pt x="0" y="2132075"/>
                  </a:lnTo>
                  <a:lnTo>
                    <a:pt x="0" y="0"/>
                  </a:lnTo>
                  <a:close/>
                </a:path>
              </a:pathLst>
            </a:custGeom>
            <a:noFill/>
            <a:ln w="9525" cap="flat" cmpd="sng">
              <a:solidFill>
                <a:schemeClr val="tx1">
                  <a:lumMod val="50000"/>
                  <a:lumOff val="50000"/>
                </a:schemeClr>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1365" name="Google Shape;1365;p27"/>
            <p:cNvSpPr/>
            <p:nvPr/>
          </p:nvSpPr>
          <p:spPr>
            <a:xfrm>
              <a:off x="7058631" y="3161186"/>
              <a:ext cx="1260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75" name="図形グループ 74"/>
            <p:cNvGrpSpPr/>
            <p:nvPr/>
          </p:nvGrpSpPr>
          <p:grpSpPr>
            <a:xfrm>
              <a:off x="6919746" y="3013554"/>
              <a:ext cx="296586" cy="293005"/>
              <a:chOff x="5878361" y="3995693"/>
              <a:chExt cx="296586" cy="293005"/>
            </a:xfrm>
          </p:grpSpPr>
          <p:sp>
            <p:nvSpPr>
              <p:cNvPr id="76" name="円/楕円 75"/>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7" name="フリーフォーム 76"/>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4" name="グループ化 3" descr="アプリ情報画面で「通知」をタップしている画像">
            <a:extLst>
              <a:ext uri="{FF2B5EF4-FFF2-40B4-BE49-F238E27FC236}">
                <a16:creationId xmlns:a16="http://schemas.microsoft.com/office/drawing/2014/main" id="{51D455CD-8F9C-4EC3-9146-391A839521CF}"/>
              </a:ext>
            </a:extLst>
          </p:cNvPr>
          <p:cNvGrpSpPr/>
          <p:nvPr/>
        </p:nvGrpSpPr>
        <p:grpSpPr>
          <a:xfrm>
            <a:off x="5304312" y="2789768"/>
            <a:ext cx="1324510" cy="2160000"/>
            <a:chOff x="5304312" y="2789768"/>
            <a:chExt cx="1324510" cy="2160000"/>
          </a:xfrm>
        </p:grpSpPr>
        <p:sp>
          <p:nvSpPr>
            <p:cNvPr id="1341" name="Google Shape;1341;p27"/>
            <p:cNvSpPr/>
            <p:nvPr/>
          </p:nvSpPr>
          <p:spPr>
            <a:xfrm>
              <a:off x="5469314" y="2789768"/>
              <a:ext cx="1135307" cy="2103920"/>
            </a:xfrm>
            <a:prstGeom prst="rect">
              <a:avLst/>
            </a:prstGeom>
            <a:blipFill rotWithShape="1">
              <a:blip r:embed="rId5">
                <a:alphaModFix/>
              </a:blip>
              <a:stretch>
                <a:fillRect/>
              </a:stretch>
            </a:blipFill>
            <a:ln w="9525">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1342" name="Google Shape;1342;p27"/>
            <p:cNvSpPr/>
            <p:nvPr/>
          </p:nvSpPr>
          <p:spPr>
            <a:xfrm>
              <a:off x="5469314" y="2789768"/>
              <a:ext cx="1130400" cy="2160000"/>
            </a:xfrm>
            <a:custGeom>
              <a:avLst/>
              <a:gdLst/>
              <a:ahLst/>
              <a:cxnLst/>
              <a:rect l="l" t="t" r="r" b="b"/>
              <a:pathLst>
                <a:path w="1068704" h="2127885" extrusionOk="0">
                  <a:moveTo>
                    <a:pt x="0" y="0"/>
                  </a:moveTo>
                  <a:lnTo>
                    <a:pt x="1068324" y="0"/>
                  </a:lnTo>
                  <a:lnTo>
                    <a:pt x="1068324" y="2127504"/>
                  </a:lnTo>
                  <a:lnTo>
                    <a:pt x="0" y="2127504"/>
                  </a:lnTo>
                  <a:lnTo>
                    <a:pt x="0" y="0"/>
                  </a:lnTo>
                  <a:close/>
                </a:path>
              </a:pathLst>
            </a:custGeom>
            <a:noFill/>
            <a:ln w="9525" cap="flat" cmpd="sng">
              <a:solidFill>
                <a:schemeClr val="tx1">
                  <a:lumMod val="50000"/>
                  <a:lumOff val="50000"/>
                </a:schemeClr>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1369" name="Google Shape;1369;p27"/>
            <p:cNvSpPr/>
            <p:nvPr/>
          </p:nvSpPr>
          <p:spPr>
            <a:xfrm>
              <a:off x="5440822" y="4055797"/>
              <a:ext cx="118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78" name="図形グループ 77"/>
            <p:cNvGrpSpPr/>
            <p:nvPr/>
          </p:nvGrpSpPr>
          <p:grpSpPr>
            <a:xfrm>
              <a:off x="5304312" y="3902562"/>
              <a:ext cx="296586" cy="293005"/>
              <a:chOff x="5101121" y="3995693"/>
              <a:chExt cx="296586" cy="293005"/>
            </a:xfrm>
          </p:grpSpPr>
          <p:sp>
            <p:nvSpPr>
              <p:cNvPr id="79" name="円/楕円 78"/>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3" name="グループ化 2" descr="アプリ画面で「クロン」をタップしている画像">
            <a:extLst>
              <a:ext uri="{FF2B5EF4-FFF2-40B4-BE49-F238E27FC236}">
                <a16:creationId xmlns:a16="http://schemas.microsoft.com/office/drawing/2014/main" id="{156BD611-DED3-4501-BE4B-346D8A7D563F}"/>
              </a:ext>
            </a:extLst>
          </p:cNvPr>
          <p:cNvGrpSpPr/>
          <p:nvPr/>
        </p:nvGrpSpPr>
        <p:grpSpPr>
          <a:xfrm>
            <a:off x="3673635" y="2789768"/>
            <a:ext cx="1340820" cy="2160000"/>
            <a:chOff x="3673635" y="2789768"/>
            <a:chExt cx="1340820" cy="2160000"/>
          </a:xfrm>
        </p:grpSpPr>
        <p:sp>
          <p:nvSpPr>
            <p:cNvPr id="1347" name="Google Shape;1347;p27"/>
            <p:cNvSpPr/>
            <p:nvPr/>
          </p:nvSpPr>
          <p:spPr>
            <a:xfrm>
              <a:off x="3853154" y="2794334"/>
              <a:ext cx="1128143" cy="2101334"/>
            </a:xfrm>
            <a:prstGeom prst="rect">
              <a:avLst/>
            </a:prstGeom>
            <a:blipFill rotWithShape="1">
              <a:blip r:embed="rId6">
                <a:alphaModFix/>
              </a:blip>
              <a:stretch>
                <a:fillRect/>
              </a:stretch>
            </a:blipFill>
            <a:ln w="9525">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1348" name="Google Shape;1348;p27"/>
            <p:cNvSpPr/>
            <p:nvPr/>
          </p:nvSpPr>
          <p:spPr>
            <a:xfrm>
              <a:off x="3848367" y="2789768"/>
              <a:ext cx="1138250" cy="2160000"/>
            </a:xfrm>
            <a:custGeom>
              <a:avLst/>
              <a:gdLst/>
              <a:ahLst/>
              <a:cxnLst/>
              <a:rect l="l" t="t" r="r" b="b"/>
              <a:pathLst>
                <a:path w="1087120" h="2162810" extrusionOk="0">
                  <a:moveTo>
                    <a:pt x="0" y="0"/>
                  </a:moveTo>
                  <a:lnTo>
                    <a:pt x="1086612" y="0"/>
                  </a:lnTo>
                  <a:lnTo>
                    <a:pt x="1086612" y="2162556"/>
                  </a:lnTo>
                  <a:lnTo>
                    <a:pt x="0" y="2162556"/>
                  </a:lnTo>
                  <a:lnTo>
                    <a:pt x="0" y="0"/>
                  </a:lnTo>
                  <a:close/>
                </a:path>
              </a:pathLst>
            </a:custGeom>
            <a:noFill/>
            <a:ln w="9525" cap="flat" cmpd="sng">
              <a:solidFill>
                <a:schemeClr val="tx1">
                  <a:lumMod val="50000"/>
                  <a:lumOff val="50000"/>
                </a:schemeClr>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1373" name="Google Shape;1373;p27"/>
            <p:cNvSpPr/>
            <p:nvPr/>
          </p:nvSpPr>
          <p:spPr>
            <a:xfrm>
              <a:off x="3826455" y="4068716"/>
              <a:ext cx="118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81" name="図形グループ 80"/>
            <p:cNvGrpSpPr/>
            <p:nvPr/>
          </p:nvGrpSpPr>
          <p:grpSpPr>
            <a:xfrm>
              <a:off x="3673635" y="3927963"/>
              <a:ext cx="296586" cy="293005"/>
              <a:chOff x="4232441" y="3995693"/>
              <a:chExt cx="296586" cy="293005"/>
            </a:xfrm>
          </p:grpSpPr>
          <p:sp>
            <p:nvSpPr>
              <p:cNvPr id="82" name="円/楕円 81"/>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2" name="グループ化 1" descr="設定画面で「アプリ」をタップしている画像">
            <a:extLst>
              <a:ext uri="{FF2B5EF4-FFF2-40B4-BE49-F238E27FC236}">
                <a16:creationId xmlns:a16="http://schemas.microsoft.com/office/drawing/2014/main" id="{2AB8330D-DAB1-49AA-9B4C-308AC4FE6E2A}"/>
              </a:ext>
            </a:extLst>
          </p:cNvPr>
          <p:cNvGrpSpPr/>
          <p:nvPr/>
        </p:nvGrpSpPr>
        <p:grpSpPr>
          <a:xfrm>
            <a:off x="2064971" y="2789768"/>
            <a:ext cx="1329300" cy="2160000"/>
            <a:chOff x="2064971" y="2789768"/>
            <a:chExt cx="1329300" cy="2160000"/>
          </a:xfrm>
        </p:grpSpPr>
        <p:sp>
          <p:nvSpPr>
            <p:cNvPr id="1338" name="Google Shape;1338;p27"/>
            <p:cNvSpPr>
              <a:spLocks noChangeAspect="1"/>
            </p:cNvSpPr>
            <p:nvPr/>
          </p:nvSpPr>
          <p:spPr>
            <a:xfrm>
              <a:off x="2232436" y="2791312"/>
              <a:ext cx="1134487" cy="2102400"/>
            </a:xfrm>
            <a:prstGeom prst="rect">
              <a:avLst/>
            </a:prstGeom>
            <a:blipFill rotWithShape="1">
              <a:blip r:embed="rId7">
                <a:alphaModFix/>
              </a:blip>
              <a:stretch>
                <a:fillRect/>
              </a:stretch>
            </a:blipFill>
            <a:ln w="9525">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1339" name="Google Shape;1339;p27"/>
            <p:cNvSpPr/>
            <p:nvPr/>
          </p:nvSpPr>
          <p:spPr>
            <a:xfrm>
              <a:off x="2235531" y="2789768"/>
              <a:ext cx="1126800" cy="2160000"/>
            </a:xfrm>
            <a:custGeom>
              <a:avLst/>
              <a:gdLst/>
              <a:ahLst/>
              <a:cxnLst/>
              <a:rect l="l" t="t" r="r" b="b"/>
              <a:pathLst>
                <a:path w="1069975" h="2132329" extrusionOk="0">
                  <a:moveTo>
                    <a:pt x="0" y="0"/>
                  </a:moveTo>
                  <a:lnTo>
                    <a:pt x="1069848" y="0"/>
                  </a:lnTo>
                  <a:lnTo>
                    <a:pt x="1069848" y="2132076"/>
                  </a:lnTo>
                  <a:lnTo>
                    <a:pt x="0" y="2132076"/>
                  </a:lnTo>
                  <a:lnTo>
                    <a:pt x="0" y="0"/>
                  </a:lnTo>
                  <a:close/>
                </a:path>
              </a:pathLst>
            </a:custGeom>
            <a:noFill/>
            <a:ln w="9525" cap="flat" cmpd="sng">
              <a:solidFill>
                <a:schemeClr val="tx1">
                  <a:lumMod val="50000"/>
                  <a:lumOff val="50000"/>
                </a:schemeClr>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1377" name="Google Shape;1377;p27"/>
            <p:cNvSpPr/>
            <p:nvPr/>
          </p:nvSpPr>
          <p:spPr>
            <a:xfrm>
              <a:off x="2206271" y="3790812"/>
              <a:ext cx="118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84" name="図形グループ 83"/>
            <p:cNvGrpSpPr/>
            <p:nvPr/>
          </p:nvGrpSpPr>
          <p:grpSpPr>
            <a:xfrm>
              <a:off x="2064971" y="3640092"/>
              <a:ext cx="296586" cy="293005"/>
              <a:chOff x="3546641" y="3995693"/>
              <a:chExt cx="296586" cy="293005"/>
            </a:xfrm>
          </p:grpSpPr>
          <p:sp>
            <p:nvSpPr>
              <p:cNvPr id="85" name="円/楕円 84"/>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87" name="図形グループ 86"/>
          <p:cNvGrpSpPr/>
          <p:nvPr/>
        </p:nvGrpSpPr>
        <p:grpSpPr>
          <a:xfrm>
            <a:off x="1263346" y="3741691"/>
            <a:ext cx="296587" cy="293005"/>
            <a:chOff x="2897417" y="3995693"/>
            <a:chExt cx="296587" cy="293005"/>
          </a:xfrm>
        </p:grpSpPr>
        <p:sp>
          <p:nvSpPr>
            <p:cNvPr id="88" name="円/楕円 8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9" name="テキスト ボックス 88"/>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390"/>
        <p:cNvGrpSpPr/>
        <p:nvPr/>
      </p:nvGrpSpPr>
      <p:grpSpPr>
        <a:xfrm>
          <a:off x="0" y="0"/>
          <a:ext cx="0" cy="0"/>
          <a:chOff x="0" y="0"/>
          <a:chExt cx="0" cy="0"/>
        </a:xfrm>
      </p:grpSpPr>
      <p:sp>
        <p:nvSpPr>
          <p:cNvPr id="1391" name="Google Shape;1391;p28"/>
          <p:cNvSpPr txBox="1"/>
          <p:nvPr/>
        </p:nvSpPr>
        <p:spPr>
          <a:xfrm>
            <a:off x="610981" y="5946209"/>
            <a:ext cx="7200000" cy="226400"/>
          </a:xfrm>
          <a:prstGeom prst="rect">
            <a:avLst/>
          </a:prstGeom>
          <a:noFill/>
          <a:ln>
            <a:noFill/>
          </a:ln>
        </p:spPr>
        <p:txBody>
          <a:bodyPr spcFirstLastPara="1" wrap="square" lIns="0" tIns="1085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Meiryo"/>
                <a:ea typeface="Meiryo"/>
                <a:cs typeface="Meiryo"/>
                <a:sym typeface="Meiryo"/>
              </a:rPr>
              <a:t>医療機関から通知の来る前にアプリのPush通知機能をオンにしておきましょう。</a:t>
            </a:r>
            <a:endParaRPr sz="1400" b="0" i="0" u="none" strike="noStrike" cap="none">
              <a:solidFill>
                <a:srgbClr val="000000"/>
              </a:solidFill>
              <a:latin typeface="Arial"/>
              <a:ea typeface="Arial"/>
              <a:cs typeface="Arial"/>
              <a:sym typeface="Arial"/>
            </a:endParaRPr>
          </a:p>
        </p:txBody>
      </p:sp>
      <p:sp>
        <p:nvSpPr>
          <p:cNvPr id="1392" name="Google Shape;1392;p28"/>
          <p:cNvSpPr txBox="1"/>
          <p:nvPr/>
        </p:nvSpPr>
        <p:spPr>
          <a:xfrm>
            <a:off x="581075" y="1380744"/>
            <a:ext cx="7221805" cy="357205"/>
          </a:xfrm>
          <a:prstGeom prst="rect">
            <a:avLst/>
          </a:prstGeom>
          <a:noFill/>
          <a:ln>
            <a:noFill/>
          </a:ln>
        </p:spPr>
        <p:txBody>
          <a:bodyPr spcFirstLastPara="1" wrap="square" lIns="0" tIns="10850" rIns="0" bIns="0" anchor="t" anchorCtr="0">
            <a:spAutoFit/>
          </a:bodyPr>
          <a:lstStyle/>
          <a:p>
            <a:pPr marL="10860" marR="4344" lvl="0" indent="0" algn="l" rtl="0">
              <a:lnSpc>
                <a:spcPct val="125000"/>
              </a:lnSpc>
              <a:spcBef>
                <a:spcPts val="0"/>
              </a:spcBef>
              <a:spcAft>
                <a:spcPts val="0"/>
              </a:spcAft>
              <a:buClr>
                <a:srgbClr val="000000"/>
              </a:buClr>
              <a:buSzPts val="1800"/>
              <a:buFont typeface="Arial"/>
              <a:buNone/>
            </a:pPr>
            <a:r>
              <a:rPr lang="ja-JP" sz="1800" b="1" i="0" u="none" strike="noStrike" cap="none">
                <a:solidFill>
                  <a:srgbClr val="009650"/>
                </a:solidFill>
                <a:latin typeface="Meiryo"/>
                <a:ea typeface="Meiryo"/>
                <a:cs typeface="Meiryo"/>
                <a:sym typeface="Meiryo"/>
              </a:rPr>
              <a:t>iPhoneの場合</a:t>
            </a:r>
            <a:endParaRPr sz="1800" b="1" i="0" u="none" strike="noStrike" cap="none">
              <a:solidFill>
                <a:schemeClr val="dk1"/>
              </a:solidFill>
              <a:latin typeface="Meiryo"/>
              <a:ea typeface="Meiryo"/>
              <a:cs typeface="Meiryo"/>
              <a:sym typeface="Meiryo"/>
            </a:endParaRPr>
          </a:p>
        </p:txBody>
      </p:sp>
      <p:sp>
        <p:nvSpPr>
          <p:cNvPr id="1393" name="Google Shape;1393;p28"/>
          <p:cNvSpPr txBox="1"/>
          <p:nvPr/>
        </p:nvSpPr>
        <p:spPr>
          <a:xfrm>
            <a:off x="583302" y="1719616"/>
            <a:ext cx="2160000" cy="529889"/>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❶</a:t>
            </a:r>
            <a:r>
              <a:rPr lang="en-US" altLang="ja-JP" sz="1800" b="1" i="0" u="none" strike="noStrike" cap="none" dirty="0">
                <a:solidFill>
                  <a:schemeClr val="dk1"/>
                </a:solidFill>
                <a:latin typeface="Meiryo"/>
                <a:ea typeface="Meiryo"/>
                <a:cs typeface="Meiryo"/>
                <a:sym typeface="Meiryo"/>
              </a:rPr>
              <a:t>	</a:t>
            </a:r>
          </a:p>
          <a:p>
            <a:pPr marL="12700" marR="0" lvl="0" algn="l" rtl="0">
              <a:lnSpc>
                <a:spcPct val="80000"/>
              </a:lnSpc>
              <a:spcBef>
                <a:spcPts val="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altLang="en-US" sz="1800" b="1" dirty="0">
                <a:solidFill>
                  <a:schemeClr val="dk1"/>
                </a:solidFill>
                <a:latin typeface="Meiryo"/>
                <a:ea typeface="Meiryo"/>
                <a:cs typeface="Meiryo"/>
                <a:sym typeface="Meiryo"/>
              </a:rPr>
              <a:t>設定</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タップ</a:t>
            </a:r>
            <a:endParaRPr sz="1800" b="1" i="0" u="none" strike="noStrike" cap="none" dirty="0">
              <a:solidFill>
                <a:schemeClr val="dk1"/>
              </a:solidFill>
              <a:latin typeface="Meiryo"/>
              <a:ea typeface="Meiryo"/>
              <a:cs typeface="Meiryo"/>
              <a:sym typeface="Meiryo"/>
            </a:endParaRPr>
          </a:p>
        </p:txBody>
      </p:sp>
      <p:sp>
        <p:nvSpPr>
          <p:cNvPr id="1395" name="Google Shape;1395;p28" descr="スマートフォンのホーム画面の「設定」をタップしている画像"/>
          <p:cNvSpPr>
            <a:spLocks noChangeAspect="1"/>
          </p:cNvSpPr>
          <p:nvPr/>
        </p:nvSpPr>
        <p:spPr>
          <a:xfrm>
            <a:off x="601600" y="2349236"/>
            <a:ext cx="1623274" cy="2880000"/>
          </a:xfrm>
          <a:prstGeom prst="rect">
            <a:avLst/>
          </a:prstGeom>
          <a:blipFill rotWithShape="1">
            <a:blip r:embed="rId3">
              <a:alphaModFix/>
            </a:blip>
            <a:stretch>
              <a:fillRect/>
            </a:stretch>
          </a:blipFill>
          <a:ln w="9525" cap="flat" cmpd="sng">
            <a:no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1409" name="Google Shape;1409;p28"/>
          <p:cNvSpPr>
            <a:spLocks noChangeAspect="1"/>
          </p:cNvSpPr>
          <p:nvPr/>
        </p:nvSpPr>
        <p:spPr>
          <a:xfrm>
            <a:off x="1000223" y="4209486"/>
            <a:ext cx="432000" cy="432000"/>
          </a:xfrm>
          <a:prstGeom prst="rect">
            <a:avLst/>
          </a:prstGeom>
          <a:noFill/>
          <a:ln w="28575" cap="flat" cmpd="sng">
            <a:solidFill>
              <a:srgbClr val="FF0000"/>
            </a:solidFill>
            <a:prstDash val="solid"/>
            <a:miter lim="800000"/>
            <a:headEnd type="none" w="sm" len="sm"/>
            <a:tailEnd type="none" w="sm" len="sm"/>
          </a:ln>
          <a:effectLst>
            <a:glow rad="25400">
              <a:schemeClr val="bg1"/>
            </a:glo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4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46"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a:t> </a:t>
            </a:r>
            <a:br>
              <a:rPr lang="en-US" altLang="ja-JP" sz="1800" dirty="0"/>
            </a:br>
            <a:r>
              <a:rPr lang="en-US" altLang="ja-JP" sz="3200" dirty="0">
                <a:latin typeface="Meiryo"/>
                <a:ea typeface="Meiryo"/>
                <a:cs typeface="Meiryo"/>
                <a:sym typeface="Meiryo"/>
              </a:rPr>
              <a:t>【15</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アプリ通知ONの設</a:t>
            </a:r>
            <a:r>
              <a:rPr lang="ja-JP" altLang="ja-JP" sz="3200" spc="-1250" dirty="0">
                <a:latin typeface="Meiryo"/>
                <a:ea typeface="Meiryo"/>
                <a:cs typeface="Meiryo"/>
                <a:sym typeface="Meiryo"/>
              </a:rPr>
              <a:t>定</a:t>
            </a:r>
            <a:r>
              <a:rPr lang="ja-JP" altLang="en-US" sz="3200" b="0" dirty="0">
                <a:sym typeface="Meiryo"/>
              </a:rPr>
              <a:t>［</a:t>
            </a:r>
            <a:r>
              <a:rPr lang="en-US" altLang="ja-JP" sz="3200" dirty="0">
                <a:latin typeface="Meiryo"/>
                <a:ea typeface="Meiryo"/>
                <a:cs typeface="Meiryo"/>
                <a:sym typeface="Meiryo"/>
              </a:rPr>
              <a:t>2</a:t>
            </a:r>
            <a:r>
              <a:rPr lang="ja-JP" altLang="en-US" sz="3200" b="0" dirty="0">
                <a:sym typeface="Meiryo"/>
              </a:rPr>
              <a:t>］</a:t>
            </a:r>
            <a:endParaRPr kumimoji="0" lang="ja-JP" altLang="en-US" sz="3200" b="0" kern="0" dirty="0"/>
          </a:p>
        </p:txBody>
      </p:sp>
      <p:sp>
        <p:nvSpPr>
          <p:cNvPr id="47" name="Google Shape;1393;p28"/>
          <p:cNvSpPr txBox="1"/>
          <p:nvPr/>
        </p:nvSpPr>
        <p:spPr>
          <a:xfrm>
            <a:off x="2564497" y="1719616"/>
            <a:ext cx="2160000" cy="555537"/>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p>
          <a:p>
            <a:pPr marL="12700" marR="0" lvl="0" algn="l" rtl="0">
              <a:lnSpc>
                <a:spcPct val="80000"/>
              </a:lnSpc>
              <a:spcBef>
                <a:spcPts val="1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通知</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タップ</a:t>
            </a:r>
            <a:endParaRPr sz="1400" b="0" i="0" u="none" strike="noStrike" cap="none" dirty="0">
              <a:solidFill>
                <a:srgbClr val="000000"/>
              </a:solidFill>
              <a:latin typeface="Arial"/>
              <a:ea typeface="Arial"/>
              <a:cs typeface="Arial"/>
              <a:sym typeface="Arial"/>
            </a:endParaRPr>
          </a:p>
        </p:txBody>
      </p:sp>
      <p:sp>
        <p:nvSpPr>
          <p:cNvPr id="48" name="Google Shape;1393;p28"/>
          <p:cNvSpPr txBox="1"/>
          <p:nvPr/>
        </p:nvSpPr>
        <p:spPr>
          <a:xfrm>
            <a:off x="4537456" y="1719616"/>
            <a:ext cx="2160000" cy="555537"/>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❸</a:t>
            </a:r>
            <a:r>
              <a:rPr lang="en-US" altLang="ja-JP" sz="2400" b="1" i="0" u="none" strike="noStrike" cap="none" dirty="0">
                <a:solidFill>
                  <a:srgbClr val="009650"/>
                </a:solidFill>
                <a:latin typeface="Meiryo"/>
                <a:ea typeface="Meiryo"/>
                <a:cs typeface="Meiryo"/>
                <a:sym typeface="Meiryo"/>
              </a:rPr>
              <a:t>	</a:t>
            </a:r>
          </a:p>
          <a:p>
            <a:pPr marL="12700" marR="0" lvl="0" algn="l" rtl="0">
              <a:lnSpc>
                <a:spcPct val="80000"/>
              </a:lnSpc>
              <a:spcBef>
                <a:spcPts val="1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クロン</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タップ</a:t>
            </a:r>
            <a:endParaRPr sz="1400" b="0" i="0" u="none" strike="noStrike" cap="none" dirty="0">
              <a:solidFill>
                <a:srgbClr val="000000"/>
              </a:solidFill>
              <a:latin typeface="Arial"/>
              <a:ea typeface="Arial"/>
              <a:cs typeface="Arial"/>
              <a:sym typeface="Arial"/>
            </a:endParaRPr>
          </a:p>
        </p:txBody>
      </p:sp>
      <p:sp>
        <p:nvSpPr>
          <p:cNvPr id="49" name="Google Shape;1393;p28"/>
          <p:cNvSpPr txBox="1"/>
          <p:nvPr/>
        </p:nvSpPr>
        <p:spPr>
          <a:xfrm>
            <a:off x="6526895" y="1719616"/>
            <a:ext cx="2340000" cy="542713"/>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❹</a:t>
            </a:r>
            <a:r>
              <a:rPr lang="en-US" altLang="ja-JP" sz="2400" b="1" i="0" u="none" strike="noStrike" cap="none" dirty="0">
                <a:solidFill>
                  <a:srgbClr val="009650"/>
                </a:solidFill>
                <a:latin typeface="Meiryo"/>
                <a:ea typeface="Meiryo"/>
                <a:cs typeface="Meiryo"/>
                <a:sym typeface="Meiryo"/>
              </a:rPr>
              <a:t>	</a:t>
            </a:r>
          </a:p>
          <a:p>
            <a:pPr marL="12700" marR="0" lvl="0" algn="l" rtl="0">
              <a:lnSpc>
                <a:spcPct val="80000"/>
              </a:lnSpc>
              <a:spcBef>
                <a:spcPts val="1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通知</a:t>
            </a:r>
            <a:r>
              <a:rPr lang="ja-JP" altLang="en-US" sz="1800" b="1" i="0" u="none" strike="noStrike" cap="none" dirty="0">
                <a:solidFill>
                  <a:schemeClr val="dk1"/>
                </a:solidFill>
                <a:latin typeface="Meiryo"/>
                <a:ea typeface="Meiryo"/>
                <a:cs typeface="Meiryo"/>
                <a:sym typeface="Meiryo"/>
              </a:rPr>
              <a:t>を</a:t>
            </a:r>
            <a:r>
              <a:rPr lang="ja-JP" sz="1800" b="1" i="0" u="none" strike="noStrike" cap="none" dirty="0">
                <a:solidFill>
                  <a:schemeClr val="dk1"/>
                </a:solidFill>
                <a:latin typeface="Meiryo"/>
                <a:ea typeface="Meiryo"/>
                <a:cs typeface="Meiryo"/>
                <a:sym typeface="Meiryo"/>
              </a:rPr>
              <a:t>許可</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タップ</a:t>
            </a:r>
            <a:endParaRPr sz="1400" b="0" i="0" u="none" strike="noStrike" cap="none" dirty="0">
              <a:solidFill>
                <a:srgbClr val="000000"/>
              </a:solidFill>
              <a:latin typeface="Arial"/>
              <a:ea typeface="Arial"/>
              <a:cs typeface="Arial"/>
              <a:sym typeface="Arial"/>
            </a:endParaRPr>
          </a:p>
        </p:txBody>
      </p:sp>
      <p:grpSp>
        <p:nvGrpSpPr>
          <p:cNvPr id="3" name="グループ化 2" descr="クロン画面で「通知を許可」をタップしている画像">
            <a:extLst>
              <a:ext uri="{FF2B5EF4-FFF2-40B4-BE49-F238E27FC236}">
                <a16:creationId xmlns:a16="http://schemas.microsoft.com/office/drawing/2014/main" id="{0C2FA1D1-EFDA-4345-B782-D729315EC74A}"/>
              </a:ext>
            </a:extLst>
          </p:cNvPr>
          <p:cNvGrpSpPr/>
          <p:nvPr/>
        </p:nvGrpSpPr>
        <p:grpSpPr>
          <a:xfrm>
            <a:off x="6413446" y="2349236"/>
            <a:ext cx="1806854" cy="2882318"/>
            <a:chOff x="6413446" y="2349236"/>
            <a:chExt cx="1806854" cy="2882318"/>
          </a:xfrm>
        </p:grpSpPr>
        <p:sp>
          <p:nvSpPr>
            <p:cNvPr id="1403" name="Google Shape;1403;p28"/>
            <p:cNvSpPr>
              <a:spLocks noChangeAspect="1"/>
            </p:cNvSpPr>
            <p:nvPr/>
          </p:nvSpPr>
          <p:spPr>
            <a:xfrm>
              <a:off x="6549145" y="2351554"/>
              <a:ext cx="1670307" cy="2880000"/>
            </a:xfrm>
            <a:prstGeom prst="rect">
              <a:avLst/>
            </a:prstGeom>
            <a:blipFill rotWithShape="1">
              <a:blip r:embed="rId4">
                <a:alphaModFix/>
              </a:blip>
              <a:stretch>
                <a:fillRect/>
              </a:stretch>
            </a:blipFill>
            <a:ln w="9525" cap="flat" cmpd="sng">
              <a:no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1404" name="Google Shape;1404;p28"/>
            <p:cNvSpPr/>
            <p:nvPr/>
          </p:nvSpPr>
          <p:spPr>
            <a:xfrm>
              <a:off x="6546825" y="2349236"/>
              <a:ext cx="1673475" cy="2880000"/>
            </a:xfrm>
            <a:custGeom>
              <a:avLst/>
              <a:gdLst/>
              <a:ahLst/>
              <a:cxnLst/>
              <a:rect l="l" t="t" r="r" b="b"/>
              <a:pathLst>
                <a:path w="1099184" h="1891665" extrusionOk="0">
                  <a:moveTo>
                    <a:pt x="0" y="0"/>
                  </a:moveTo>
                  <a:lnTo>
                    <a:pt x="1098803" y="0"/>
                  </a:lnTo>
                  <a:lnTo>
                    <a:pt x="1098803" y="1891283"/>
                  </a:lnTo>
                  <a:lnTo>
                    <a:pt x="0" y="1891283"/>
                  </a:lnTo>
                  <a:lnTo>
                    <a:pt x="0" y="0"/>
                  </a:lnTo>
                  <a:close/>
                </a:path>
              </a:pathLst>
            </a:custGeom>
            <a:noFill/>
            <a:ln w="9525" cap="flat" cmpd="sng">
              <a:solidFill>
                <a:schemeClr val="tx1">
                  <a:lumMod val="50000"/>
                  <a:lumOff val="50000"/>
                </a:schemeClr>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1421" name="Google Shape;1421;p28"/>
            <p:cNvSpPr/>
            <p:nvPr/>
          </p:nvSpPr>
          <p:spPr>
            <a:xfrm>
              <a:off x="6569312" y="2823502"/>
              <a:ext cx="1620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51" name="図形グループ 50"/>
            <p:cNvGrpSpPr/>
            <p:nvPr/>
          </p:nvGrpSpPr>
          <p:grpSpPr>
            <a:xfrm>
              <a:off x="6413446" y="2666427"/>
              <a:ext cx="296586" cy="293005"/>
              <a:chOff x="5101121" y="3995693"/>
              <a:chExt cx="296586" cy="293005"/>
            </a:xfrm>
          </p:grpSpPr>
          <p:sp>
            <p:nvSpPr>
              <p:cNvPr id="52" name="円/楕円 51"/>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2" name="グループ化 1" descr="通知画面で「クロン」をタップしている画像">
            <a:extLst>
              <a:ext uri="{FF2B5EF4-FFF2-40B4-BE49-F238E27FC236}">
                <a16:creationId xmlns:a16="http://schemas.microsoft.com/office/drawing/2014/main" id="{90792601-6050-4CF3-8CD9-012207A93EBE}"/>
              </a:ext>
            </a:extLst>
          </p:cNvPr>
          <p:cNvGrpSpPr/>
          <p:nvPr/>
        </p:nvGrpSpPr>
        <p:grpSpPr>
          <a:xfrm>
            <a:off x="4452565" y="2349236"/>
            <a:ext cx="1745229" cy="2882302"/>
            <a:chOff x="4452565" y="2349236"/>
            <a:chExt cx="1745229" cy="2882302"/>
          </a:xfrm>
        </p:grpSpPr>
        <p:sp>
          <p:nvSpPr>
            <p:cNvPr id="1400" name="Google Shape;1400;p28"/>
            <p:cNvSpPr>
              <a:spLocks noChangeAspect="1"/>
            </p:cNvSpPr>
            <p:nvPr/>
          </p:nvSpPr>
          <p:spPr>
            <a:xfrm>
              <a:off x="4570809" y="2351538"/>
              <a:ext cx="1624614" cy="2880000"/>
            </a:xfrm>
            <a:prstGeom prst="rect">
              <a:avLst/>
            </a:prstGeom>
            <a:blipFill rotWithShape="1">
              <a:blip r:embed="rId5">
                <a:alphaModFix/>
              </a:blip>
              <a:stretch>
                <a:fillRect/>
              </a:stretch>
            </a:blipFill>
            <a:ln w="9525">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1401" name="Google Shape;1401;p28"/>
            <p:cNvSpPr/>
            <p:nvPr/>
          </p:nvSpPr>
          <p:spPr>
            <a:xfrm>
              <a:off x="4568509" y="2349236"/>
              <a:ext cx="1629285" cy="2880000"/>
            </a:xfrm>
            <a:custGeom>
              <a:avLst/>
              <a:gdLst/>
              <a:ahLst/>
              <a:cxnLst/>
              <a:rect l="l" t="t" r="r" b="b"/>
              <a:pathLst>
                <a:path w="1079500" h="1908175" extrusionOk="0">
                  <a:moveTo>
                    <a:pt x="0" y="0"/>
                  </a:moveTo>
                  <a:lnTo>
                    <a:pt x="1078992" y="0"/>
                  </a:lnTo>
                  <a:lnTo>
                    <a:pt x="1078992" y="1908048"/>
                  </a:lnTo>
                  <a:lnTo>
                    <a:pt x="0" y="1908048"/>
                  </a:lnTo>
                  <a:lnTo>
                    <a:pt x="0" y="0"/>
                  </a:lnTo>
                  <a:close/>
                </a:path>
              </a:pathLst>
            </a:custGeom>
            <a:noFill/>
            <a:ln w="9525" cap="flat" cmpd="sng">
              <a:solidFill>
                <a:schemeClr val="tx1">
                  <a:lumMod val="50000"/>
                  <a:lumOff val="50000"/>
                </a:schemeClr>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1417" name="Google Shape;1417;p28"/>
            <p:cNvSpPr/>
            <p:nvPr/>
          </p:nvSpPr>
          <p:spPr>
            <a:xfrm>
              <a:off x="4603340" y="4528812"/>
              <a:ext cx="154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54" name="図形グループ 53"/>
            <p:cNvGrpSpPr/>
            <p:nvPr/>
          </p:nvGrpSpPr>
          <p:grpSpPr>
            <a:xfrm>
              <a:off x="4452565" y="4376698"/>
              <a:ext cx="296586" cy="293005"/>
              <a:chOff x="4232441" y="3995693"/>
              <a:chExt cx="296586" cy="293005"/>
            </a:xfrm>
          </p:grpSpPr>
          <p:sp>
            <p:nvSpPr>
              <p:cNvPr id="55" name="円/楕円 54"/>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フリーフォーム 55"/>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4" name="グループ化 3" descr="設定画面で「通知」をタップしている画像">
            <a:extLst>
              <a:ext uri="{FF2B5EF4-FFF2-40B4-BE49-F238E27FC236}">
                <a16:creationId xmlns:a16="http://schemas.microsoft.com/office/drawing/2014/main" id="{B9E7424D-5293-4ADD-A89F-05F8DDF4EF9C}"/>
              </a:ext>
            </a:extLst>
          </p:cNvPr>
          <p:cNvGrpSpPr/>
          <p:nvPr/>
        </p:nvGrpSpPr>
        <p:grpSpPr>
          <a:xfrm>
            <a:off x="2479829" y="2349236"/>
            <a:ext cx="1741211" cy="2886967"/>
            <a:chOff x="2479829" y="2349236"/>
            <a:chExt cx="1741211" cy="2886967"/>
          </a:xfrm>
        </p:grpSpPr>
        <p:sp>
          <p:nvSpPr>
            <p:cNvPr id="1397" name="Google Shape;1397;p28"/>
            <p:cNvSpPr>
              <a:spLocks noChangeAspect="1"/>
            </p:cNvSpPr>
            <p:nvPr/>
          </p:nvSpPr>
          <p:spPr>
            <a:xfrm>
              <a:off x="2598997" y="2356203"/>
              <a:ext cx="1622043" cy="2880000"/>
            </a:xfrm>
            <a:prstGeom prst="rect">
              <a:avLst/>
            </a:prstGeom>
            <a:blipFill rotWithShape="1">
              <a:blip r:embed="rId6">
                <a:alphaModFix/>
              </a:blip>
              <a:stretch>
                <a:fillRect/>
              </a:stretch>
            </a:blipFill>
            <a:ln w="9525">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1398" name="Google Shape;1398;p28" descr="設定画面で「通知」をタップしている画像"/>
            <p:cNvSpPr/>
            <p:nvPr/>
          </p:nvSpPr>
          <p:spPr>
            <a:xfrm>
              <a:off x="2592029" y="2349236"/>
              <a:ext cx="1628710" cy="2880000"/>
            </a:xfrm>
            <a:custGeom>
              <a:avLst/>
              <a:gdLst/>
              <a:ahLst/>
              <a:cxnLst/>
              <a:rect l="l" t="t" r="r" b="b"/>
              <a:pathLst>
                <a:path w="1068704" h="1889759" extrusionOk="0">
                  <a:moveTo>
                    <a:pt x="0" y="0"/>
                  </a:moveTo>
                  <a:lnTo>
                    <a:pt x="1068324" y="0"/>
                  </a:lnTo>
                  <a:lnTo>
                    <a:pt x="1068324" y="1889759"/>
                  </a:lnTo>
                  <a:lnTo>
                    <a:pt x="0" y="1889759"/>
                  </a:lnTo>
                  <a:lnTo>
                    <a:pt x="0" y="0"/>
                  </a:lnTo>
                  <a:close/>
                </a:path>
              </a:pathLst>
            </a:custGeom>
            <a:noFill/>
            <a:ln w="9525" cap="flat" cmpd="sng">
              <a:solidFill>
                <a:schemeClr val="tx1">
                  <a:lumMod val="50000"/>
                  <a:lumOff val="50000"/>
                </a:schemeClr>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Calibri"/>
                <a:ea typeface="Calibri"/>
                <a:cs typeface="Calibri"/>
                <a:sym typeface="Calibri"/>
              </a:endParaRPr>
            </a:p>
          </p:txBody>
        </p:sp>
        <p:sp>
          <p:nvSpPr>
            <p:cNvPr id="1413" name="Google Shape;1413;p28"/>
            <p:cNvSpPr/>
            <p:nvPr/>
          </p:nvSpPr>
          <p:spPr>
            <a:xfrm>
              <a:off x="2625659" y="3661841"/>
              <a:ext cx="154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57" name="図形グループ 56"/>
            <p:cNvGrpSpPr/>
            <p:nvPr/>
          </p:nvGrpSpPr>
          <p:grpSpPr>
            <a:xfrm>
              <a:off x="2479829" y="3513097"/>
              <a:ext cx="296586" cy="293005"/>
              <a:chOff x="3546641" y="3995693"/>
              <a:chExt cx="296586" cy="293005"/>
            </a:xfrm>
          </p:grpSpPr>
          <p:sp>
            <p:nvSpPr>
              <p:cNvPr id="58" name="円/楕円 5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フリーフォーム 5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60" name="図形グループ 59"/>
          <p:cNvGrpSpPr/>
          <p:nvPr/>
        </p:nvGrpSpPr>
        <p:grpSpPr>
          <a:xfrm>
            <a:off x="848475" y="4054962"/>
            <a:ext cx="296587" cy="293005"/>
            <a:chOff x="2897417" y="3995693"/>
            <a:chExt cx="296587" cy="293005"/>
          </a:xfrm>
          <a:effectLst/>
        </p:grpSpPr>
        <p:sp>
          <p:nvSpPr>
            <p:cNvPr id="61" name="円/楕円 6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テキスト ボックス 6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63" name="図形グループ 62"/>
          <p:cNvGrpSpPr>
            <a:grpSpLocks noChangeAspect="1"/>
          </p:cNvGrpSpPr>
          <p:nvPr/>
        </p:nvGrpSpPr>
        <p:grpSpPr>
          <a:xfrm>
            <a:off x="4132392" y="3304349"/>
            <a:ext cx="360000" cy="270000"/>
            <a:chOff x="3355262" y="5469690"/>
            <a:chExt cx="720000" cy="540000"/>
          </a:xfrm>
        </p:grpSpPr>
        <p:cxnSp>
          <p:nvCxnSpPr>
            <p:cNvPr id="64" name="カギ線コネクタ 63"/>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66" name="図形グループ 65"/>
          <p:cNvGrpSpPr>
            <a:grpSpLocks noChangeAspect="1"/>
          </p:cNvGrpSpPr>
          <p:nvPr/>
        </p:nvGrpSpPr>
        <p:grpSpPr>
          <a:xfrm>
            <a:off x="6111968" y="3304349"/>
            <a:ext cx="360000" cy="270000"/>
            <a:chOff x="3355262" y="5469690"/>
            <a:chExt cx="720000" cy="540000"/>
          </a:xfrm>
        </p:grpSpPr>
        <p:cxnSp>
          <p:nvCxnSpPr>
            <p:cNvPr id="67" name="カギ線コネクタ 66"/>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69" name="図形グループ 68"/>
          <p:cNvGrpSpPr>
            <a:grpSpLocks noChangeAspect="1"/>
          </p:cNvGrpSpPr>
          <p:nvPr/>
        </p:nvGrpSpPr>
        <p:grpSpPr>
          <a:xfrm>
            <a:off x="2142720" y="3304349"/>
            <a:ext cx="360000" cy="270000"/>
            <a:chOff x="3355262" y="5469690"/>
            <a:chExt cx="720000" cy="540000"/>
          </a:xfrm>
        </p:grpSpPr>
        <p:cxnSp>
          <p:nvCxnSpPr>
            <p:cNvPr id="70" name="カギ線コネクタ 69"/>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438"/>
        <p:cNvGrpSpPr/>
        <p:nvPr/>
      </p:nvGrpSpPr>
      <p:grpSpPr>
        <a:xfrm>
          <a:off x="0" y="0"/>
          <a:ext cx="0" cy="0"/>
          <a:chOff x="0" y="0"/>
          <a:chExt cx="0" cy="0"/>
        </a:xfrm>
      </p:grpSpPr>
      <p:sp>
        <p:nvSpPr>
          <p:cNvPr id="1443" name="Google Shape;1443;p34"/>
          <p:cNvSpPr txBox="1"/>
          <p:nvPr/>
        </p:nvSpPr>
        <p:spPr>
          <a:xfrm>
            <a:off x="323800" y="1917702"/>
            <a:ext cx="2521200" cy="3800384"/>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5600" algn="l"/>
              </a:tabLst>
            </a:pPr>
            <a:r>
              <a:rPr lang="ja-JP" altLang="en-US" sz="2400" b="1" i="0" u="none" strike="noStrike" cap="none" dirty="0">
                <a:solidFill>
                  <a:srgbClr val="009650"/>
                </a:solidFill>
                <a:latin typeface="Meiryo"/>
                <a:ea typeface="Meiryo"/>
                <a:cs typeface="Meiryo"/>
                <a:sym typeface="Meiryo"/>
              </a:rPr>
              <a:t>❶</a:t>
            </a:r>
            <a:r>
              <a:rPr lang="en-US" altLang="ja-JP" sz="2400" b="1" i="0" u="none" strike="noStrike" cap="none" dirty="0">
                <a:solidFill>
                  <a:srgbClr val="009650"/>
                </a:solidFill>
                <a:latin typeface="Meiryo"/>
                <a:ea typeface="Meiryo"/>
                <a:cs typeface="Meiryo"/>
                <a:sym typeface="Meiryo"/>
              </a:rPr>
              <a:t>	</a:t>
            </a:r>
            <a:r>
              <a:rPr lang="ja-JP" altLang="en-US" sz="1800" b="1" dirty="0">
                <a:solidFill>
                  <a:schemeClr val="dk1"/>
                </a:solidFill>
                <a:latin typeface="Meiryo"/>
                <a:ea typeface="Meiryo"/>
                <a:cs typeface="Meiryo"/>
                <a:sym typeface="Meiryo"/>
              </a:rPr>
              <a:t>予約</a:t>
            </a:r>
            <a:r>
              <a:rPr lang="ja-JP" altLang="en-US" sz="1800" b="1" dirty="0">
                <a:solidFill>
                  <a:schemeClr val="tx1"/>
                </a:solidFill>
                <a:latin typeface="Meiryo"/>
                <a:ea typeface="Meiryo"/>
                <a:cs typeface="Meiryo"/>
                <a:sym typeface="Meiryo"/>
              </a:rPr>
              <a:t>している診察</a:t>
            </a:r>
            <a:r>
              <a:rPr lang="ja-JP" altLang="en-US" sz="1800" b="1" i="0" u="none" strike="noStrike" cap="none" dirty="0">
                <a:solidFill>
                  <a:schemeClr val="dk1"/>
                </a:solidFill>
                <a:latin typeface="Meiryo"/>
                <a:ea typeface="Meiryo"/>
                <a:cs typeface="Meiryo"/>
                <a:sym typeface="Meiryo"/>
              </a:rPr>
              <a:t>を</a:t>
            </a:r>
            <a:endParaRPr lang="en-US" altLang="ja-JP" sz="1800" b="1" i="0" u="none" strike="noStrike" cap="none" dirty="0">
              <a:solidFill>
                <a:schemeClr val="dk1"/>
              </a:solidFill>
              <a:latin typeface="Meiryo"/>
              <a:ea typeface="Meiryo"/>
              <a:cs typeface="Meiryo"/>
              <a:sym typeface="Meiryo"/>
            </a:endParaRPr>
          </a:p>
          <a:p>
            <a:pPr marL="9525" marR="4343" lvl="0" algn="l" rtl="0">
              <a:spcBef>
                <a:spcPts val="0"/>
              </a:spcBef>
              <a:spcAft>
                <a:spcPts val="0"/>
              </a:spcAft>
              <a:buNone/>
              <a:tabLst>
                <a:tab pos="355600" algn="l"/>
              </a:tabLst>
            </a:pPr>
            <a:r>
              <a:rPr lang="en-US" altLang="ja-JP" sz="1800" b="1" dirty="0">
                <a:solidFill>
                  <a:schemeClr val="dk1"/>
                </a:solidFill>
                <a:latin typeface="Meiryo"/>
                <a:ea typeface="Meiryo"/>
                <a:cs typeface="Meiryo"/>
                <a:sym typeface="Meiryo"/>
              </a:rPr>
              <a:t>	</a:t>
            </a:r>
            <a:r>
              <a:rPr lang="ja-JP" altLang="en-US" sz="1800" b="1" i="0" u="none" strike="noStrike" cap="none" dirty="0">
                <a:solidFill>
                  <a:schemeClr val="dk1"/>
                </a:solidFill>
                <a:latin typeface="Meiryo"/>
                <a:ea typeface="Meiryo"/>
                <a:cs typeface="Meiryo"/>
                <a:sym typeface="Meiryo"/>
              </a:rPr>
              <a:t>タップ</a:t>
            </a:r>
          </a:p>
          <a:p>
            <a:pPr marL="9525" marR="4343" lvl="0" algn="l" rtl="0">
              <a:spcBef>
                <a:spcPts val="0"/>
              </a:spcBef>
              <a:spcAft>
                <a:spcPts val="0"/>
              </a:spcAft>
              <a:buNone/>
              <a:tabLst>
                <a:tab pos="355600" algn="l"/>
              </a:tabLst>
            </a:pPr>
            <a:r>
              <a:rPr lang="ja-JP" altLang="en-US" sz="2400" b="1" i="0" u="none" strike="noStrike" cap="none">
                <a:solidFill>
                  <a:srgbClr val="009650"/>
                </a:solidFill>
                <a:latin typeface="Meiryo"/>
                <a:ea typeface="Meiryo"/>
                <a:cs typeface="Meiryo"/>
                <a:sym typeface="Meiryo"/>
              </a:rPr>
              <a:t>❷</a:t>
            </a:r>
            <a:r>
              <a:rPr lang="en-US" altLang="ja-JP" sz="2400" b="1" i="0" u="none" strike="noStrike" cap="none">
                <a:solidFill>
                  <a:srgbClr val="009650"/>
                </a:solidFill>
                <a:latin typeface="Meiryo"/>
                <a:ea typeface="Meiryo"/>
                <a:cs typeface="Meiryo"/>
                <a:sym typeface="Meiryo"/>
              </a:rPr>
              <a:t>	</a:t>
            </a:r>
            <a:r>
              <a:rPr lang="en-US" altLang="ja-JP" sz="1800" b="1">
                <a:solidFill>
                  <a:schemeClr val="dk1"/>
                </a:solidFill>
                <a:latin typeface="Meiryo"/>
                <a:ea typeface="Meiryo"/>
                <a:cs typeface="Meiryo"/>
                <a:sym typeface="Meiryo"/>
              </a:rPr>
              <a:t>｢</a:t>
            </a:r>
            <a:r>
              <a:rPr lang="ja-JP" altLang="en-US" sz="1800" b="1">
                <a:solidFill>
                  <a:schemeClr val="dk1"/>
                </a:solidFill>
                <a:latin typeface="Meiryo"/>
                <a:ea typeface="Meiryo"/>
                <a:cs typeface="Meiryo"/>
                <a:sym typeface="Meiryo"/>
              </a:rPr>
              <a:t>問診票</a:t>
            </a:r>
            <a:r>
              <a:rPr lang="ja-JP" altLang="en-US" sz="1800" b="1" dirty="0">
                <a:solidFill>
                  <a:schemeClr val="dk1"/>
                </a:solidFill>
                <a:latin typeface="Meiryo"/>
                <a:ea typeface="Meiryo"/>
                <a:cs typeface="Meiryo"/>
                <a:sym typeface="Meiryo"/>
              </a:rPr>
              <a:t>を回答する</a:t>
            </a:r>
            <a:r>
              <a:rPr lang="en-US" altLang="ja-JP" sz="1800" b="1" dirty="0">
                <a:solidFill>
                  <a:schemeClr val="dk1"/>
                </a:solidFill>
                <a:latin typeface="Meiryo"/>
                <a:ea typeface="Meiryo"/>
                <a:cs typeface="Meiryo"/>
                <a:sym typeface="Meiryo"/>
              </a:rPr>
              <a:t>｣</a:t>
            </a:r>
          </a:p>
          <a:p>
            <a:pPr marL="9525" marR="4343" lvl="0" algn="l" rtl="0">
              <a:spcBef>
                <a:spcPts val="0"/>
              </a:spcBef>
              <a:spcAft>
                <a:spcPts val="0"/>
              </a:spcAft>
              <a:buNone/>
              <a:tabLst>
                <a:tab pos="355600" algn="l"/>
              </a:tabLst>
            </a:pPr>
            <a:r>
              <a:rPr lang="en-US" altLang="ja-JP" sz="1800" b="1" dirty="0">
                <a:solidFill>
                  <a:schemeClr val="dk1"/>
                </a:solidFill>
                <a:latin typeface="Meiryo"/>
                <a:ea typeface="Meiryo"/>
                <a:cs typeface="Meiryo"/>
                <a:sym typeface="Meiryo"/>
              </a:rPr>
              <a:t>	</a:t>
            </a:r>
            <a:r>
              <a:rPr lang="ja-JP" altLang="en-US" sz="1800" b="1" dirty="0">
                <a:solidFill>
                  <a:schemeClr val="dk1"/>
                </a:solidFill>
                <a:latin typeface="Meiryo"/>
                <a:ea typeface="Meiryo"/>
                <a:cs typeface="Meiryo"/>
                <a:sym typeface="Meiryo"/>
              </a:rPr>
              <a:t>をタップ</a:t>
            </a:r>
          </a:p>
          <a:p>
            <a:pPr marL="9525" lvl="0" algn="l" rtl="0">
              <a:spcBef>
                <a:spcPts val="100"/>
              </a:spcBef>
              <a:spcAft>
                <a:spcPts val="0"/>
              </a:spcAft>
              <a:buSzPts val="2400"/>
              <a:buNone/>
              <a:tabLst>
                <a:tab pos="355600" algn="l"/>
              </a:tabLst>
            </a:pPr>
            <a:r>
              <a:rPr lang="ja-JP" altLang="en-US" sz="2400" b="1" dirty="0">
                <a:solidFill>
                  <a:srgbClr val="009650"/>
                </a:solidFill>
                <a:latin typeface="Meiryo"/>
                <a:ea typeface="Meiryo"/>
                <a:cs typeface="Meiryo"/>
                <a:sym typeface="Meiryo"/>
              </a:rPr>
              <a:t>❸</a:t>
            </a:r>
            <a:r>
              <a:rPr lang="en-US" altLang="ja-JP" sz="2400" b="1" dirty="0">
                <a:solidFill>
                  <a:srgbClr val="009650"/>
                </a:solidFill>
                <a:latin typeface="Meiryo"/>
                <a:ea typeface="Meiryo"/>
                <a:cs typeface="Meiryo"/>
                <a:sym typeface="Meiryo"/>
              </a:rPr>
              <a:t>	</a:t>
            </a:r>
            <a:r>
              <a:rPr lang="ja-JP" altLang="en-US" sz="1800" b="1" dirty="0">
                <a:solidFill>
                  <a:schemeClr val="dk1"/>
                </a:solidFill>
                <a:latin typeface="Meiryo"/>
                <a:ea typeface="Meiryo"/>
                <a:cs typeface="Meiryo"/>
                <a:sym typeface="Meiryo"/>
              </a:rPr>
              <a:t>必須事項を記入</a:t>
            </a:r>
          </a:p>
          <a:p>
            <a:pPr marL="9525" lvl="0" algn="l" rtl="0">
              <a:spcBef>
                <a:spcPts val="100"/>
              </a:spcBef>
              <a:spcAft>
                <a:spcPts val="0"/>
              </a:spcAft>
              <a:buSzPts val="2400"/>
              <a:buNone/>
              <a:tabLst>
                <a:tab pos="355600" algn="l"/>
              </a:tabLst>
            </a:pPr>
            <a:r>
              <a:rPr lang="ja-JP" altLang="en-US" sz="2400" b="1">
                <a:solidFill>
                  <a:srgbClr val="009650"/>
                </a:solidFill>
                <a:latin typeface="Meiryo"/>
                <a:ea typeface="Meiryo"/>
                <a:cs typeface="Meiryo"/>
                <a:sym typeface="Meiryo"/>
              </a:rPr>
              <a:t>❹</a:t>
            </a:r>
            <a:r>
              <a:rPr lang="en-US" altLang="ja-JP" sz="2400" b="1">
                <a:solidFill>
                  <a:srgbClr val="009650"/>
                </a:solidFill>
                <a:latin typeface="Meiryo"/>
                <a:ea typeface="Meiryo"/>
                <a:cs typeface="Meiryo"/>
                <a:sym typeface="Meiryo"/>
              </a:rPr>
              <a:t>	</a:t>
            </a:r>
            <a:r>
              <a:rPr lang="en-US" altLang="ja-JP" sz="1800" b="1">
                <a:solidFill>
                  <a:schemeClr val="dk1"/>
                </a:solidFill>
                <a:latin typeface="Meiryo"/>
                <a:ea typeface="Meiryo"/>
                <a:cs typeface="Meiryo"/>
                <a:sym typeface="Meiryo"/>
              </a:rPr>
              <a:t>｢</a:t>
            </a:r>
            <a:r>
              <a:rPr lang="ja-JP" altLang="en-US" sz="1800" b="1">
                <a:solidFill>
                  <a:schemeClr val="dk1"/>
                </a:solidFill>
                <a:latin typeface="Meiryo"/>
                <a:ea typeface="Meiryo"/>
                <a:cs typeface="Meiryo"/>
                <a:sym typeface="Meiryo"/>
              </a:rPr>
              <a:t>この</a:t>
            </a:r>
            <a:r>
              <a:rPr lang="ja-JP" altLang="en-US" sz="1800" b="1" dirty="0">
                <a:solidFill>
                  <a:schemeClr val="dk1"/>
                </a:solidFill>
                <a:latin typeface="Meiryo"/>
                <a:ea typeface="Meiryo"/>
                <a:cs typeface="Meiryo"/>
                <a:sym typeface="Meiryo"/>
              </a:rPr>
              <a:t>内容で</a:t>
            </a:r>
            <a:endParaRPr lang="en-US" altLang="ja-JP" sz="1800" b="1" dirty="0">
              <a:solidFill>
                <a:schemeClr val="dk1"/>
              </a:solidFill>
              <a:latin typeface="Meiryo"/>
              <a:ea typeface="Meiryo"/>
              <a:cs typeface="Meiryo"/>
              <a:sym typeface="Meiryo"/>
            </a:endParaRPr>
          </a:p>
          <a:p>
            <a:pPr marL="9525" lvl="0" algn="l" rtl="0">
              <a:spcBef>
                <a:spcPts val="100"/>
              </a:spcBef>
              <a:spcAft>
                <a:spcPts val="0"/>
              </a:spcAft>
              <a:buSzPts val="2400"/>
              <a:buNone/>
              <a:tabLst>
                <a:tab pos="355600" algn="l"/>
              </a:tabLst>
            </a:pPr>
            <a:r>
              <a:rPr lang="en-US" altLang="ja-JP" sz="1800" b="1" dirty="0">
                <a:solidFill>
                  <a:schemeClr val="dk1"/>
                </a:solidFill>
                <a:latin typeface="Meiryo"/>
                <a:ea typeface="Meiryo"/>
                <a:cs typeface="Meiryo"/>
                <a:sym typeface="Meiryo"/>
              </a:rPr>
              <a:t>	</a:t>
            </a:r>
            <a:r>
              <a:rPr lang="ja-JP" altLang="en-US" sz="1800" b="1" dirty="0">
                <a:solidFill>
                  <a:schemeClr val="dk1"/>
                </a:solidFill>
                <a:latin typeface="Meiryo"/>
                <a:ea typeface="Meiryo"/>
                <a:cs typeface="Meiryo"/>
                <a:sym typeface="Meiryo"/>
              </a:rPr>
              <a:t>提出する</a:t>
            </a:r>
            <a:r>
              <a:rPr lang="en-US" altLang="ja-JP" sz="1800" b="1" dirty="0">
                <a:solidFill>
                  <a:schemeClr val="dk1"/>
                </a:solidFill>
                <a:latin typeface="Meiryo"/>
                <a:ea typeface="Meiryo"/>
                <a:cs typeface="Meiryo"/>
                <a:sym typeface="Meiryo"/>
              </a:rPr>
              <a:t>｣</a:t>
            </a:r>
            <a:r>
              <a:rPr lang="ja-JP" altLang="en-US" sz="1800" b="1" dirty="0">
                <a:solidFill>
                  <a:schemeClr val="dk1"/>
                </a:solidFill>
                <a:latin typeface="Meiryo"/>
                <a:ea typeface="Meiryo"/>
                <a:cs typeface="Meiryo"/>
                <a:sym typeface="Meiryo"/>
              </a:rPr>
              <a:t>をタップ</a:t>
            </a:r>
          </a:p>
          <a:p>
            <a:pPr marL="9525" lvl="0" algn="l" rtl="0">
              <a:spcBef>
                <a:spcPts val="100"/>
              </a:spcBef>
              <a:spcAft>
                <a:spcPts val="0"/>
              </a:spcAft>
              <a:buSzPts val="2400"/>
              <a:buNone/>
              <a:tabLst>
                <a:tab pos="355600" algn="l"/>
              </a:tabLst>
            </a:pPr>
            <a:endParaRPr lang="ja-JP" altLang="en-US" sz="1800" b="1" dirty="0">
              <a:solidFill>
                <a:schemeClr val="dk1"/>
              </a:solidFill>
              <a:latin typeface="Meiryo"/>
              <a:ea typeface="Meiryo"/>
              <a:cs typeface="Meiryo"/>
              <a:sym typeface="Meiryo"/>
            </a:endParaRPr>
          </a:p>
          <a:p>
            <a:pPr marL="9525" marR="4344" lvl="0" algn="l" rtl="0">
              <a:spcBef>
                <a:spcPts val="0"/>
              </a:spcBef>
              <a:spcAft>
                <a:spcPts val="0"/>
              </a:spcAft>
              <a:buNone/>
              <a:tabLst>
                <a:tab pos="355600" algn="l"/>
              </a:tabLst>
            </a:pPr>
            <a:r>
              <a:rPr lang="en-US" altLang="ja-JP" b="1" dirty="0">
                <a:solidFill>
                  <a:schemeClr val="dk1"/>
                </a:solidFill>
                <a:latin typeface="Meiryo"/>
                <a:ea typeface="Meiryo"/>
                <a:cs typeface="Meiryo"/>
                <a:sym typeface="Meiryo"/>
              </a:rPr>
              <a:t>※</a:t>
            </a:r>
            <a:r>
              <a:rPr lang="ja-JP" altLang="en-US" b="1" dirty="0">
                <a:solidFill>
                  <a:schemeClr val="dk1"/>
                </a:solidFill>
                <a:latin typeface="Meiryo"/>
                <a:ea typeface="Meiryo"/>
                <a:cs typeface="Meiryo"/>
                <a:sym typeface="Meiryo"/>
              </a:rPr>
              <a:t>医療機関から問診票が</a:t>
            </a:r>
            <a:endParaRPr lang="en-US" altLang="ja-JP" b="1" dirty="0">
              <a:solidFill>
                <a:schemeClr val="dk1"/>
              </a:solidFill>
              <a:latin typeface="Meiryo"/>
              <a:ea typeface="Meiryo"/>
              <a:cs typeface="Meiryo"/>
              <a:sym typeface="Meiryo"/>
            </a:endParaRPr>
          </a:p>
          <a:p>
            <a:pPr marL="9525" marR="4344" lvl="2">
              <a:tabLst>
                <a:tab pos="355600" algn="l"/>
              </a:tabLst>
            </a:pPr>
            <a:r>
              <a:rPr lang="ja-JP" altLang="en-US" b="1" dirty="0">
                <a:solidFill>
                  <a:schemeClr val="dk1"/>
                </a:solidFill>
                <a:latin typeface="Meiryo"/>
                <a:ea typeface="Meiryo"/>
                <a:cs typeface="Meiryo"/>
                <a:sym typeface="Meiryo"/>
              </a:rPr>
              <a:t>送付される場合があります。</a:t>
            </a:r>
          </a:p>
          <a:p>
            <a:pPr marL="9525" marR="4344" lvl="0" algn="l" rtl="0">
              <a:spcBef>
                <a:spcPts val="0"/>
              </a:spcBef>
              <a:spcAft>
                <a:spcPts val="0"/>
              </a:spcAft>
              <a:buNone/>
              <a:tabLst>
                <a:tab pos="355600" algn="l"/>
              </a:tabLst>
            </a:pPr>
            <a:r>
              <a:rPr lang="ja-JP" altLang="en-US" b="1" dirty="0">
                <a:solidFill>
                  <a:schemeClr val="dk1"/>
                </a:solidFill>
                <a:latin typeface="Meiryo"/>
                <a:ea typeface="Meiryo"/>
                <a:cs typeface="Meiryo"/>
                <a:sym typeface="Meiryo"/>
              </a:rPr>
              <a:t>診察時間までに問診票を</a:t>
            </a:r>
            <a:endParaRPr lang="en-US" altLang="ja-JP" b="1" dirty="0">
              <a:solidFill>
                <a:schemeClr val="dk1"/>
              </a:solidFill>
              <a:latin typeface="Meiryo"/>
              <a:ea typeface="Meiryo"/>
              <a:cs typeface="Meiryo"/>
              <a:sym typeface="Meiryo"/>
            </a:endParaRPr>
          </a:p>
          <a:p>
            <a:pPr marL="9525" marR="4344" lvl="0" algn="l" rtl="0">
              <a:spcBef>
                <a:spcPts val="0"/>
              </a:spcBef>
              <a:spcAft>
                <a:spcPts val="0"/>
              </a:spcAft>
              <a:buNone/>
              <a:tabLst>
                <a:tab pos="355600" algn="l"/>
              </a:tabLst>
            </a:pPr>
            <a:r>
              <a:rPr lang="ja-JP" altLang="en-US" b="1" dirty="0">
                <a:solidFill>
                  <a:schemeClr val="dk1"/>
                </a:solidFill>
                <a:latin typeface="Meiryo"/>
                <a:ea typeface="Meiryo"/>
                <a:cs typeface="Meiryo"/>
                <a:sym typeface="Meiryo"/>
              </a:rPr>
              <a:t>ご回答の上提出してください。</a:t>
            </a:r>
          </a:p>
          <a:p>
            <a:pPr marL="9525" lvl="0" algn="l" rtl="0">
              <a:spcBef>
                <a:spcPts val="100"/>
              </a:spcBef>
              <a:spcAft>
                <a:spcPts val="0"/>
              </a:spcAft>
              <a:buClr>
                <a:schemeClr val="dk1"/>
              </a:buClr>
              <a:buSzPts val="2400"/>
              <a:buFont typeface="Arial"/>
              <a:buNone/>
              <a:tabLst>
                <a:tab pos="355600" algn="l"/>
              </a:tabLst>
            </a:pPr>
            <a:endParaRPr sz="1800" b="1" dirty="0">
              <a:solidFill>
                <a:schemeClr val="dk1"/>
              </a:solidFill>
              <a:latin typeface="Meiryo"/>
              <a:ea typeface="Meiryo"/>
              <a:cs typeface="Meiryo"/>
              <a:sym typeface="Meiryo"/>
            </a:endParaRPr>
          </a:p>
        </p:txBody>
      </p:sp>
      <p:sp>
        <p:nvSpPr>
          <p:cNvPr id="2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6"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lvl="0">
              <a:spcBef>
                <a:spcPts val="85"/>
              </a:spcBef>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a:t> </a:t>
            </a:r>
            <a:br>
              <a:rPr lang="en-US" altLang="ja-JP" sz="1800" dirty="0"/>
            </a:br>
            <a:r>
              <a:rPr lang="en-US" altLang="ja-JP" sz="3200" dirty="0">
                <a:latin typeface="Meiryo"/>
                <a:ea typeface="Meiryo"/>
                <a:cs typeface="Meiryo"/>
                <a:sym typeface="Meiryo"/>
              </a:rPr>
              <a:t>【16</a:t>
            </a:r>
            <a:r>
              <a:rPr lang="en-US" altLang="ja-JP" sz="3200" spc="-1000" dirty="0">
                <a:latin typeface="Meiryo"/>
                <a:ea typeface="Meiryo"/>
                <a:cs typeface="Meiryo"/>
                <a:sym typeface="Meiryo"/>
              </a:rPr>
              <a:t>】</a:t>
            </a:r>
            <a:r>
              <a:rPr lang="ja-JP" altLang="en-US" sz="3200" dirty="0">
                <a:latin typeface="Meiryo"/>
                <a:ea typeface="Meiryo"/>
                <a:cs typeface="Meiryo"/>
                <a:sym typeface="Meiryo"/>
              </a:rPr>
              <a:t>問診票の回答</a:t>
            </a:r>
            <a:endParaRPr lang="ja-JP" altLang="en-US" sz="1600" b="0" dirty="0">
              <a:solidFill>
                <a:srgbClr val="000000"/>
              </a:solidFill>
              <a:latin typeface="Arial"/>
              <a:ea typeface="Arial"/>
              <a:cs typeface="Arial"/>
            </a:endParaRPr>
          </a:p>
        </p:txBody>
      </p:sp>
      <p:pic>
        <p:nvPicPr>
          <p:cNvPr id="27" name="Google Shape;796;p22" descr="問診票画面で必要事項を入力し「この内容で提出する」をタップしている画像"/>
          <p:cNvPicPr preferRelativeResize="0"/>
          <p:nvPr/>
        </p:nvPicPr>
        <p:blipFill>
          <a:blip r:embed="rId3">
            <a:alphaModFix/>
          </a:blip>
          <a:stretch>
            <a:fillRect/>
          </a:stretch>
        </p:blipFill>
        <p:spPr>
          <a:xfrm>
            <a:off x="7055529" y="1988284"/>
            <a:ext cx="1485147" cy="3600024"/>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28" name="Google Shape;797;p22" descr="診療詳細画面で「問診票を回答する」をタップしている画像"/>
          <p:cNvPicPr preferRelativeResize="0"/>
          <p:nvPr/>
        </p:nvPicPr>
        <p:blipFill>
          <a:blip r:embed="rId4">
            <a:alphaModFix/>
          </a:blip>
          <a:stretch>
            <a:fillRect/>
          </a:stretch>
        </p:blipFill>
        <p:spPr>
          <a:xfrm>
            <a:off x="4999082" y="1988284"/>
            <a:ext cx="1662575" cy="3600000"/>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29" name="Google Shape;798;p22" descr="クロンの直近の診療画面で予約している診察をタップしている画像"/>
          <p:cNvPicPr preferRelativeResize="0"/>
          <p:nvPr/>
        </p:nvPicPr>
        <p:blipFill>
          <a:blip r:embed="rId5">
            <a:alphaModFix/>
          </a:blip>
          <a:stretch>
            <a:fillRect/>
          </a:stretch>
        </p:blipFill>
        <p:spPr>
          <a:xfrm>
            <a:off x="2953843" y="1988284"/>
            <a:ext cx="1662575" cy="3600014"/>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30" name="Google Shape;801;p22"/>
          <p:cNvSpPr/>
          <p:nvPr/>
        </p:nvSpPr>
        <p:spPr>
          <a:xfrm>
            <a:off x="2990582" y="2832997"/>
            <a:ext cx="1584000" cy="72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1" name="Google Shape;805;p22"/>
          <p:cNvSpPr/>
          <p:nvPr/>
        </p:nvSpPr>
        <p:spPr>
          <a:xfrm>
            <a:off x="7090699" y="2372183"/>
            <a:ext cx="1404000" cy="28047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2" name="Google Shape;806;p22"/>
          <p:cNvSpPr/>
          <p:nvPr/>
        </p:nvSpPr>
        <p:spPr>
          <a:xfrm>
            <a:off x="5041957" y="3533597"/>
            <a:ext cx="1584000" cy="54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3" name="Google Shape;810;p22"/>
          <p:cNvSpPr txBox="1"/>
          <p:nvPr/>
        </p:nvSpPr>
        <p:spPr>
          <a:xfrm>
            <a:off x="2929744" y="1623673"/>
            <a:ext cx="1945800" cy="2265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dirty="0">
                <a:solidFill>
                  <a:srgbClr val="009650"/>
                </a:solidFill>
                <a:latin typeface="Meiryo"/>
                <a:ea typeface="Meiryo"/>
                <a:cs typeface="Meiryo"/>
                <a:sym typeface="Meiryo"/>
              </a:rPr>
              <a:t>問診票の回答</a:t>
            </a:r>
            <a:endParaRPr sz="1400" b="1" i="0" u="none" strike="noStrike" cap="none" dirty="0">
              <a:solidFill>
                <a:srgbClr val="009650"/>
              </a:solidFill>
              <a:latin typeface="Meiryo"/>
              <a:ea typeface="Meiryo"/>
              <a:cs typeface="Meiryo"/>
              <a:sym typeface="Meiryo"/>
            </a:endParaRPr>
          </a:p>
        </p:txBody>
      </p:sp>
      <p:sp>
        <p:nvSpPr>
          <p:cNvPr id="34" name="Google Shape;815;p22"/>
          <p:cNvSpPr/>
          <p:nvPr/>
        </p:nvSpPr>
        <p:spPr>
          <a:xfrm>
            <a:off x="7090699" y="5230758"/>
            <a:ext cx="1404000"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35" name="図形グループ 34"/>
          <p:cNvGrpSpPr/>
          <p:nvPr/>
        </p:nvGrpSpPr>
        <p:grpSpPr>
          <a:xfrm>
            <a:off x="6949712" y="5404871"/>
            <a:ext cx="296586" cy="293005"/>
            <a:chOff x="5101121" y="3995693"/>
            <a:chExt cx="296586" cy="293005"/>
          </a:xfrm>
        </p:grpSpPr>
        <p:sp>
          <p:nvSpPr>
            <p:cNvPr id="36" name="円/楕円 35"/>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36"/>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8" name="図形グループ 37"/>
          <p:cNvGrpSpPr/>
          <p:nvPr/>
        </p:nvGrpSpPr>
        <p:grpSpPr>
          <a:xfrm>
            <a:off x="6949712" y="2227705"/>
            <a:ext cx="296586" cy="293005"/>
            <a:chOff x="4232441" y="3995693"/>
            <a:chExt cx="296586" cy="293005"/>
          </a:xfrm>
        </p:grpSpPr>
        <p:sp>
          <p:nvSpPr>
            <p:cNvPr id="39" name="円/楕円 3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図形グループ 40"/>
          <p:cNvGrpSpPr/>
          <p:nvPr/>
        </p:nvGrpSpPr>
        <p:grpSpPr>
          <a:xfrm>
            <a:off x="4892313" y="3390072"/>
            <a:ext cx="296586" cy="293005"/>
            <a:chOff x="3546641" y="3995693"/>
            <a:chExt cx="296586" cy="293005"/>
          </a:xfrm>
        </p:grpSpPr>
        <p:sp>
          <p:nvSpPr>
            <p:cNvPr id="42" name="円/楕円 4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43"/>
          <p:cNvGrpSpPr/>
          <p:nvPr/>
        </p:nvGrpSpPr>
        <p:grpSpPr>
          <a:xfrm>
            <a:off x="2844665" y="2686683"/>
            <a:ext cx="296587" cy="293005"/>
            <a:chOff x="2897417" y="3995693"/>
            <a:chExt cx="296587" cy="293005"/>
          </a:xfrm>
        </p:grpSpPr>
        <p:sp>
          <p:nvSpPr>
            <p:cNvPr id="45" name="円/楕円 4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テキスト ボックス 4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47" name="図形グループ 46"/>
          <p:cNvGrpSpPr>
            <a:grpSpLocks noChangeAspect="1"/>
          </p:cNvGrpSpPr>
          <p:nvPr/>
        </p:nvGrpSpPr>
        <p:grpSpPr>
          <a:xfrm>
            <a:off x="4534916" y="2583679"/>
            <a:ext cx="360000" cy="270000"/>
            <a:chOff x="3355262" y="5469690"/>
            <a:chExt cx="720000" cy="540000"/>
          </a:xfrm>
        </p:grpSpPr>
        <p:cxnSp>
          <p:nvCxnSpPr>
            <p:cNvPr id="48" name="カギ線コネクタ 47"/>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50" name="図形グループ 49"/>
          <p:cNvGrpSpPr>
            <a:grpSpLocks noChangeAspect="1"/>
          </p:cNvGrpSpPr>
          <p:nvPr/>
        </p:nvGrpSpPr>
        <p:grpSpPr>
          <a:xfrm>
            <a:off x="6584524" y="2583679"/>
            <a:ext cx="360000" cy="270000"/>
            <a:chOff x="3355262" y="5469690"/>
            <a:chExt cx="720000" cy="540000"/>
          </a:xfrm>
        </p:grpSpPr>
        <p:cxnSp>
          <p:nvCxnSpPr>
            <p:cNvPr id="51" name="カギ線コネクタ 50"/>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466"/>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42CB8422-1320-421D-BCAD-D7A9270C6E30}"/>
              </a:ext>
            </a:extLst>
          </p:cNvPr>
          <p:cNvGraphicFramePr>
            <a:graphicFrameLocks noChangeAspect="1"/>
          </p:cNvGraphicFramePr>
          <p:nvPr>
            <p:custDataLst>
              <p:tags r:id="rId2"/>
            </p:custDataLst>
            <p:extLst>
              <p:ext uri="{D42A27DB-BD31-4B8C-83A1-F6EECF244321}">
                <p14:modId xmlns:p14="http://schemas.microsoft.com/office/powerpoint/2010/main" val="3462341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82"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72" name="Google Shape;1472;g1445ac9894b_0_0"/>
          <p:cNvSpPr txBox="1"/>
          <p:nvPr/>
        </p:nvSpPr>
        <p:spPr>
          <a:xfrm>
            <a:off x="323800" y="1905000"/>
            <a:ext cx="2336100" cy="3490043"/>
          </a:xfrm>
          <a:prstGeom prst="rect">
            <a:avLst/>
          </a:prstGeom>
          <a:noFill/>
          <a:ln>
            <a:noFill/>
          </a:ln>
        </p:spPr>
        <p:txBody>
          <a:bodyPr spcFirstLastPara="1" wrap="square" lIns="0" tIns="12050" rIns="0" bIns="0" anchor="t" anchorCtr="0">
            <a:spAutoFit/>
          </a:bodyPr>
          <a:lstStyle/>
          <a:p>
            <a:pPr marL="9525" marR="4344" lvl="0" algn="l" defTabSz="914400" rtl="0" eaLnBrk="1" fontAlgn="auto" latinLnBrk="0" hangingPunct="1">
              <a:lnSpc>
                <a:spcPct val="100000"/>
              </a:lnSpc>
              <a:spcBef>
                <a:spcPts val="0"/>
              </a:spcBef>
              <a:spcAft>
                <a:spcPts val="0"/>
              </a:spcAft>
              <a:buClr>
                <a:srgbClr val="000000"/>
              </a:buClr>
              <a:buSzTx/>
              <a:buFont typeface="Arial"/>
              <a:buNone/>
              <a:tabLst>
                <a:tab pos="355600" algn="l"/>
              </a:tabLst>
              <a:defRPr/>
            </a:pPr>
            <a:r>
              <a:rPr kumimoji="0" lang="ja-JP" altLang="en-US" sz="2400" b="1" i="0" u="none" strike="noStrike" kern="0" cap="none" spc="0" normalizeH="0" baseline="0" noProof="0" dirty="0">
                <a:ln>
                  <a:noFill/>
                </a:ln>
                <a:solidFill>
                  <a:srgbClr val="009650"/>
                </a:solidFill>
                <a:effectLst/>
                <a:uLnTx/>
                <a:uFillTx/>
                <a:latin typeface="Meiryo"/>
                <a:ea typeface="Meiryo"/>
                <a:cs typeface="Meiryo"/>
                <a:sym typeface="Meiryo"/>
              </a:rPr>
              <a:t>❶</a:t>
            </a:r>
            <a:r>
              <a:rPr kumimoji="0" lang="en-US" altLang="ja-JP" sz="2400" b="1" i="0" u="none" strike="noStrike" kern="0" cap="none" spc="0" normalizeH="0" baseline="0" noProof="0" dirty="0">
                <a:ln>
                  <a:noFill/>
                </a:ln>
                <a:solidFill>
                  <a:srgbClr val="009650"/>
                </a:solidFill>
                <a:effectLst/>
                <a:uLnTx/>
                <a:uFillTx/>
                <a:latin typeface="Meiryo"/>
                <a:ea typeface="Meiryo"/>
                <a:cs typeface="Meiryo"/>
                <a:sym typeface="Meiryo"/>
              </a:rPr>
              <a:t>	</a:t>
            </a:r>
            <a:r>
              <a:rPr kumimoji="0" lang="ja-JP" altLang="en-US" sz="1800" b="1" i="0" u="none" strike="noStrike" kern="0" cap="none" spc="0" normalizeH="0" baseline="0" noProof="0" dirty="0">
                <a:ln>
                  <a:noFill/>
                </a:ln>
                <a:solidFill>
                  <a:srgbClr val="000000"/>
                </a:solidFill>
                <a:effectLst/>
                <a:uLnTx/>
                <a:uFillTx/>
                <a:latin typeface="Meiryo"/>
                <a:ea typeface="Meiryo"/>
                <a:cs typeface="Meiryo"/>
                <a:sym typeface="Meiryo"/>
              </a:rPr>
              <a:t>予約時間に</a:t>
            </a:r>
            <a:endParaRPr kumimoji="0" lang="en-US" altLang="ja-JP" sz="1800" b="1" i="0" u="none" strike="noStrike" kern="0" cap="none" spc="0" normalizeH="0" baseline="0" noProof="0" dirty="0">
              <a:ln>
                <a:noFill/>
              </a:ln>
              <a:solidFill>
                <a:srgbClr val="000000"/>
              </a:solidFill>
              <a:effectLst/>
              <a:uLnTx/>
              <a:uFillTx/>
              <a:latin typeface="Meiryo"/>
              <a:ea typeface="Meiryo"/>
              <a:cs typeface="Meiryo"/>
              <a:sym typeface="Meiryo"/>
            </a:endParaRPr>
          </a:p>
          <a:p>
            <a:pPr marL="9525" marR="4344" lvl="0" algn="l" defTabSz="914400" rtl="0" eaLnBrk="1" fontAlgn="auto" latinLnBrk="0" hangingPunct="1">
              <a:lnSpc>
                <a:spcPct val="100000"/>
              </a:lnSpc>
              <a:spcBef>
                <a:spcPts val="0"/>
              </a:spcBef>
              <a:spcAft>
                <a:spcPts val="0"/>
              </a:spcAft>
              <a:buClr>
                <a:srgbClr val="000000"/>
              </a:buClr>
              <a:buSzTx/>
              <a:buFont typeface="Arial"/>
              <a:buNone/>
              <a:tabLst>
                <a:tab pos="355600" algn="l"/>
              </a:tabLst>
              <a:defRPr/>
            </a:pPr>
            <a:r>
              <a:rPr lang="en-US" altLang="ja-JP" sz="1800" b="1" dirty="0">
                <a:latin typeface="Meiryo"/>
                <a:ea typeface="Meiryo"/>
                <a:cs typeface="Meiryo"/>
                <a:sym typeface="Meiryo"/>
              </a:rPr>
              <a:t>	</a:t>
            </a:r>
            <a:r>
              <a:rPr kumimoji="0" lang="ja-JP" altLang="en-US" sz="1800" b="1" i="0" u="none" strike="noStrike" kern="0" cap="none" spc="0" normalizeH="0" baseline="0" noProof="0" dirty="0">
                <a:ln>
                  <a:noFill/>
                </a:ln>
                <a:solidFill>
                  <a:srgbClr val="000000"/>
                </a:solidFill>
                <a:effectLst/>
                <a:uLnTx/>
                <a:uFillTx/>
                <a:latin typeface="Meiryo"/>
                <a:ea typeface="Meiryo"/>
                <a:cs typeface="Meiryo"/>
                <a:sym typeface="Meiryo"/>
              </a:rPr>
              <a:t>なったらアプリを</a:t>
            </a:r>
            <a:endParaRPr kumimoji="0" lang="en-US" altLang="ja-JP" sz="1800" b="1" i="0" u="none" strike="noStrike" kern="0" cap="none" spc="0" normalizeH="0" baseline="0" noProof="0" dirty="0">
              <a:ln>
                <a:noFill/>
              </a:ln>
              <a:solidFill>
                <a:srgbClr val="000000"/>
              </a:solidFill>
              <a:effectLst/>
              <a:uLnTx/>
              <a:uFillTx/>
              <a:latin typeface="Meiryo"/>
              <a:ea typeface="Meiryo"/>
              <a:cs typeface="Meiryo"/>
              <a:sym typeface="Meiryo"/>
            </a:endParaRPr>
          </a:p>
          <a:p>
            <a:pPr marL="9525" marR="4344" lvl="0" algn="l" defTabSz="914400" rtl="0" eaLnBrk="1" fontAlgn="auto" latinLnBrk="0" hangingPunct="1">
              <a:lnSpc>
                <a:spcPct val="100000"/>
              </a:lnSpc>
              <a:spcBef>
                <a:spcPts val="0"/>
              </a:spcBef>
              <a:spcAft>
                <a:spcPts val="0"/>
              </a:spcAft>
              <a:buClr>
                <a:srgbClr val="000000"/>
              </a:buClr>
              <a:buSzTx/>
              <a:buFont typeface="Arial"/>
              <a:buNone/>
              <a:tabLst>
                <a:tab pos="355600" algn="l"/>
              </a:tabLst>
              <a:defRPr/>
            </a:pPr>
            <a:r>
              <a:rPr lang="en-US" altLang="ja-JP" sz="1800" b="1" dirty="0">
                <a:latin typeface="Meiryo"/>
                <a:ea typeface="Meiryo"/>
                <a:cs typeface="Meiryo"/>
                <a:sym typeface="Meiryo"/>
              </a:rPr>
              <a:t>	</a:t>
            </a:r>
            <a:r>
              <a:rPr kumimoji="0" lang="ja-JP" altLang="en-US" sz="1800" b="1" i="0" u="none" strike="noStrike" kern="0" cap="none" spc="0" normalizeH="0" baseline="0" noProof="0" dirty="0">
                <a:ln>
                  <a:noFill/>
                </a:ln>
                <a:solidFill>
                  <a:srgbClr val="000000"/>
                </a:solidFill>
                <a:effectLst/>
                <a:uLnTx/>
                <a:uFillTx/>
                <a:latin typeface="Meiryo"/>
                <a:ea typeface="Meiryo"/>
                <a:cs typeface="Meiryo"/>
                <a:sym typeface="Meiryo"/>
              </a:rPr>
              <a:t>起動</a:t>
            </a:r>
            <a:r>
              <a:rPr kumimoji="0" lang="ja-JP" altLang="en-US" sz="1800" b="1" i="0" u="none" strike="noStrike" kern="0" cap="none" spc="0" normalizeH="0" baseline="0" noProof="0">
                <a:ln>
                  <a:noFill/>
                </a:ln>
                <a:solidFill>
                  <a:srgbClr val="000000"/>
                </a:solidFill>
                <a:effectLst/>
                <a:uLnTx/>
                <a:uFillTx/>
                <a:latin typeface="Meiryo"/>
                <a:ea typeface="Meiryo"/>
                <a:cs typeface="Meiryo"/>
                <a:sym typeface="Meiryo"/>
              </a:rPr>
              <a:t>し、</a:t>
            </a:r>
            <a:r>
              <a:rPr kumimoji="0" lang="en-US" altLang="ja-JP" sz="1800" b="1" i="0" u="none" strike="noStrike" kern="0" cap="none" spc="0" normalizeH="0" baseline="0" noProof="0">
                <a:ln>
                  <a:noFill/>
                </a:ln>
                <a:solidFill>
                  <a:schemeClr val="tx1"/>
                </a:solidFill>
                <a:effectLst/>
                <a:uLnTx/>
                <a:uFillTx/>
                <a:latin typeface="Meiryo"/>
                <a:ea typeface="Meiryo"/>
                <a:cs typeface="Meiryo"/>
                <a:sym typeface="Meiryo"/>
              </a:rPr>
              <a:t>｢</a:t>
            </a:r>
            <a:r>
              <a:rPr kumimoji="0" lang="ja-JP" altLang="en-US" sz="1800" b="1" i="0" u="none" strike="noStrike" kern="0" cap="none" spc="0" normalizeH="0" baseline="0" noProof="0">
                <a:ln>
                  <a:noFill/>
                </a:ln>
                <a:solidFill>
                  <a:schemeClr val="tx1"/>
                </a:solidFill>
                <a:effectLst/>
                <a:uLnTx/>
                <a:uFillTx/>
                <a:latin typeface="Meiryo"/>
                <a:ea typeface="Meiryo"/>
                <a:cs typeface="Meiryo"/>
                <a:sym typeface="Meiryo"/>
              </a:rPr>
              <a:t>ビデオ</a:t>
            </a:r>
            <a:endParaRPr kumimoji="0" lang="en-US" altLang="ja-JP" sz="1800" b="1" i="0" u="none" strike="noStrike" kern="0" cap="none" spc="0" normalizeH="0" baseline="0" noProof="0">
              <a:ln>
                <a:noFill/>
              </a:ln>
              <a:solidFill>
                <a:schemeClr val="tx1"/>
              </a:solidFill>
              <a:effectLst/>
              <a:uLnTx/>
              <a:uFillTx/>
              <a:latin typeface="Meiryo"/>
              <a:ea typeface="Meiryo"/>
              <a:cs typeface="Meiryo"/>
              <a:sym typeface="Meiryo"/>
            </a:endParaRPr>
          </a:p>
          <a:p>
            <a:pPr marL="9525" marR="4344" lvl="0" algn="l" defTabSz="914400" rtl="0" eaLnBrk="1" fontAlgn="auto" latinLnBrk="0" hangingPunct="1">
              <a:lnSpc>
                <a:spcPct val="100000"/>
              </a:lnSpc>
              <a:spcBef>
                <a:spcPts val="0"/>
              </a:spcBef>
              <a:spcAft>
                <a:spcPts val="0"/>
              </a:spcAft>
              <a:buClr>
                <a:srgbClr val="000000"/>
              </a:buClr>
              <a:buSzTx/>
              <a:buFont typeface="Arial"/>
              <a:buNone/>
              <a:tabLst>
                <a:tab pos="355600" algn="l"/>
              </a:tabLst>
              <a:defRPr/>
            </a:pPr>
            <a:r>
              <a:rPr lang="en-US" altLang="ja-JP" sz="1800" b="1">
                <a:solidFill>
                  <a:schemeClr val="tx1"/>
                </a:solidFill>
                <a:latin typeface="Meiryo"/>
                <a:ea typeface="Meiryo"/>
                <a:cs typeface="Meiryo"/>
                <a:sym typeface="Meiryo"/>
              </a:rPr>
              <a:t>	</a:t>
            </a:r>
            <a:r>
              <a:rPr kumimoji="0" lang="ja-JP" altLang="en-US" sz="1800" b="1" i="0" u="none" strike="noStrike" kern="0" cap="none" spc="0" normalizeH="0" baseline="0" noProof="0" dirty="0">
                <a:ln>
                  <a:noFill/>
                </a:ln>
                <a:solidFill>
                  <a:schemeClr val="tx1"/>
                </a:solidFill>
                <a:effectLst/>
                <a:uLnTx/>
                <a:uFillTx/>
                <a:latin typeface="Meiryo"/>
                <a:ea typeface="Meiryo"/>
                <a:cs typeface="Meiryo"/>
                <a:sym typeface="Meiryo"/>
              </a:rPr>
              <a:t>診察画面へ</a:t>
            </a:r>
            <a:r>
              <a:rPr kumimoji="0" lang="en-US" altLang="ja-JP" sz="1800" b="1" i="0" u="none" strike="noStrike" kern="0" cap="none" spc="0" normalizeH="0" baseline="0" noProof="0" dirty="0">
                <a:ln>
                  <a:noFill/>
                </a:ln>
                <a:solidFill>
                  <a:schemeClr val="tx1"/>
                </a:solidFill>
                <a:effectLst/>
                <a:uLnTx/>
                <a:uFillTx/>
                <a:latin typeface="Meiryo"/>
                <a:ea typeface="Meiryo"/>
                <a:cs typeface="Meiryo"/>
                <a:sym typeface="Meiryo"/>
              </a:rPr>
              <a:t>｣</a:t>
            </a:r>
            <a:r>
              <a:rPr kumimoji="0" lang="ja-JP" altLang="en-US" sz="1800" b="1" i="0" u="none" strike="noStrike" kern="0" cap="none" spc="0" normalizeH="0" baseline="0" noProof="0" dirty="0">
                <a:ln>
                  <a:noFill/>
                </a:ln>
                <a:solidFill>
                  <a:srgbClr val="000000"/>
                </a:solidFill>
                <a:effectLst/>
                <a:uLnTx/>
                <a:uFillTx/>
                <a:latin typeface="Meiryo"/>
                <a:ea typeface="Meiryo"/>
                <a:cs typeface="Meiryo"/>
                <a:sym typeface="Meiryo"/>
              </a:rPr>
              <a:t>を</a:t>
            </a:r>
            <a:endParaRPr kumimoji="0" lang="en-US" altLang="ja-JP" sz="1800" b="1" i="0" u="none" strike="noStrike" kern="0" cap="none" spc="0" normalizeH="0" baseline="0" noProof="0" dirty="0">
              <a:ln>
                <a:noFill/>
              </a:ln>
              <a:solidFill>
                <a:srgbClr val="000000"/>
              </a:solidFill>
              <a:effectLst/>
              <a:uLnTx/>
              <a:uFillTx/>
              <a:latin typeface="Meiryo"/>
              <a:ea typeface="Meiryo"/>
              <a:cs typeface="Meiryo"/>
              <a:sym typeface="Meiryo"/>
            </a:endParaRPr>
          </a:p>
          <a:p>
            <a:pPr marL="9525" marR="4344" lvl="0" algn="l" defTabSz="914400" rtl="0" eaLnBrk="1" fontAlgn="auto" latinLnBrk="0" hangingPunct="1">
              <a:lnSpc>
                <a:spcPct val="100000"/>
              </a:lnSpc>
              <a:spcBef>
                <a:spcPts val="0"/>
              </a:spcBef>
              <a:spcAft>
                <a:spcPts val="0"/>
              </a:spcAft>
              <a:buClr>
                <a:srgbClr val="000000"/>
              </a:buClr>
              <a:buSzTx/>
              <a:buFont typeface="Arial"/>
              <a:buNone/>
              <a:tabLst>
                <a:tab pos="355600" algn="l"/>
              </a:tabLst>
              <a:defRPr/>
            </a:pPr>
            <a:r>
              <a:rPr lang="en-US" altLang="ja-JP" sz="1800" b="1" dirty="0">
                <a:latin typeface="Meiryo"/>
                <a:ea typeface="Meiryo"/>
                <a:cs typeface="Meiryo"/>
                <a:sym typeface="Meiryo"/>
              </a:rPr>
              <a:t>	</a:t>
            </a:r>
            <a:r>
              <a:rPr kumimoji="0" lang="ja-JP" altLang="en-US" sz="1800" b="1" i="0" u="none" strike="noStrike" kern="0" cap="none" spc="0" normalizeH="0" baseline="0" noProof="0" dirty="0">
                <a:ln>
                  <a:noFill/>
                </a:ln>
                <a:solidFill>
                  <a:srgbClr val="000000"/>
                </a:solidFill>
                <a:effectLst/>
                <a:uLnTx/>
                <a:uFillTx/>
                <a:latin typeface="Meiryo"/>
                <a:ea typeface="Meiryo"/>
                <a:cs typeface="Meiryo"/>
                <a:sym typeface="Meiryo"/>
              </a:rPr>
              <a:t>タップ</a:t>
            </a:r>
            <a:endParaRPr kumimoji="0" lang="ja-JP" altLang="en-US" sz="1400" b="0" i="0" u="none" strike="noStrike" kern="0" cap="none" spc="0" normalizeH="0" baseline="0" noProof="0" dirty="0">
              <a:ln>
                <a:noFill/>
              </a:ln>
              <a:solidFill>
                <a:srgbClr val="000000"/>
              </a:solidFill>
              <a:effectLst/>
              <a:uLnTx/>
              <a:uFillTx/>
              <a:latin typeface="Arial"/>
              <a:cs typeface="Arial"/>
              <a:sym typeface="Arial"/>
            </a:endParaRPr>
          </a:p>
          <a:p>
            <a:pPr marL="9525" marR="0" lvl="0" algn="l" defTabSz="914400" rtl="0" eaLnBrk="1" fontAlgn="auto" latinLnBrk="0" hangingPunct="1">
              <a:lnSpc>
                <a:spcPct val="100000"/>
              </a:lnSpc>
              <a:spcBef>
                <a:spcPts val="167"/>
              </a:spcBef>
              <a:spcAft>
                <a:spcPts val="0"/>
              </a:spcAft>
              <a:buClr>
                <a:srgbClr val="000000"/>
              </a:buClr>
              <a:buSzTx/>
              <a:buFont typeface="Arial"/>
              <a:buNone/>
              <a:tabLst>
                <a:tab pos="355600" algn="l"/>
              </a:tabLst>
              <a:defRPr/>
            </a:pPr>
            <a:r>
              <a:rPr kumimoji="0" lang="ja-JP" altLang="en-US" sz="2400" b="1" i="0" u="none" strike="noStrike" kern="0" cap="none" spc="0" normalizeH="0" baseline="0" noProof="0">
                <a:ln>
                  <a:noFill/>
                </a:ln>
                <a:solidFill>
                  <a:srgbClr val="009650"/>
                </a:solidFill>
                <a:effectLst/>
                <a:uLnTx/>
                <a:uFillTx/>
                <a:latin typeface="Meiryo"/>
                <a:ea typeface="Meiryo"/>
                <a:cs typeface="Meiryo"/>
                <a:sym typeface="Meiryo"/>
              </a:rPr>
              <a:t>❷</a:t>
            </a:r>
            <a:r>
              <a:rPr kumimoji="0" lang="en-US" altLang="ja-JP" sz="2400" b="1" i="0" u="none" strike="noStrike" kern="0" cap="none" spc="0" normalizeH="0" baseline="0" noProof="0">
                <a:ln>
                  <a:noFill/>
                </a:ln>
                <a:solidFill>
                  <a:srgbClr val="009650"/>
                </a:solidFill>
                <a:effectLst/>
                <a:uLnTx/>
                <a:uFillTx/>
                <a:latin typeface="Meiryo"/>
                <a:ea typeface="Meiryo"/>
                <a:cs typeface="Meiryo"/>
                <a:sym typeface="Meiryo"/>
              </a:rPr>
              <a:t>	</a:t>
            </a:r>
            <a:r>
              <a:rPr kumimoji="0" lang="en-US" altLang="ja-JP" sz="1800" b="1" i="0" u="none" strike="noStrike" kern="0" cap="none" spc="0" normalizeH="0" baseline="0" noProof="0">
                <a:ln>
                  <a:noFill/>
                </a:ln>
                <a:solidFill>
                  <a:srgbClr val="000000"/>
                </a:solidFill>
                <a:effectLst/>
                <a:uLnTx/>
                <a:uFillTx/>
                <a:latin typeface="Meiryo"/>
                <a:ea typeface="Meiryo"/>
                <a:cs typeface="Meiryo"/>
                <a:sym typeface="Meiryo"/>
              </a:rPr>
              <a:t>｢</a:t>
            </a:r>
            <a:r>
              <a:rPr kumimoji="0" lang="ja-JP" altLang="en-US" sz="1800" b="1" i="0" u="none" strike="noStrike" kern="0" cap="none" spc="0" normalizeH="0" baseline="0" noProof="0">
                <a:ln>
                  <a:noFill/>
                </a:ln>
                <a:solidFill>
                  <a:srgbClr val="000000"/>
                </a:solidFill>
                <a:effectLst/>
                <a:uLnTx/>
                <a:uFillTx/>
                <a:latin typeface="Meiryo"/>
                <a:ea typeface="Meiryo"/>
                <a:cs typeface="Meiryo"/>
                <a:sym typeface="Meiryo"/>
              </a:rPr>
              <a:t>ビデオ</a:t>
            </a:r>
            <a:r>
              <a:rPr kumimoji="0" lang="ja-JP" altLang="en-US" sz="1800" b="1" i="0" u="none" strike="noStrike" kern="0" cap="none" spc="0" normalizeH="0" baseline="0" noProof="0" dirty="0">
                <a:ln>
                  <a:noFill/>
                </a:ln>
                <a:solidFill>
                  <a:srgbClr val="000000"/>
                </a:solidFill>
                <a:effectLst/>
                <a:uLnTx/>
                <a:uFillTx/>
                <a:latin typeface="Meiryo"/>
                <a:ea typeface="Meiryo"/>
                <a:cs typeface="Meiryo"/>
                <a:sym typeface="Meiryo"/>
              </a:rPr>
              <a:t>診察</a:t>
            </a:r>
            <a:endParaRPr kumimoji="0" lang="en-US" altLang="ja-JP" sz="1800" b="1" i="0" u="none" strike="noStrike" kern="0" cap="none" spc="0" normalizeH="0" baseline="0" noProof="0" dirty="0">
              <a:ln>
                <a:noFill/>
              </a:ln>
              <a:solidFill>
                <a:srgbClr val="000000"/>
              </a:solidFill>
              <a:effectLst/>
              <a:uLnTx/>
              <a:uFillTx/>
              <a:latin typeface="Meiryo"/>
              <a:ea typeface="Meiryo"/>
              <a:cs typeface="Meiryo"/>
              <a:sym typeface="Meiryo"/>
            </a:endParaRPr>
          </a:p>
          <a:p>
            <a:pPr marL="9525" marR="0" lvl="0" algn="l" defTabSz="914400" rtl="0" eaLnBrk="1" fontAlgn="auto" latinLnBrk="0" hangingPunct="1">
              <a:lnSpc>
                <a:spcPct val="100000"/>
              </a:lnSpc>
              <a:spcBef>
                <a:spcPts val="167"/>
              </a:spcBef>
              <a:spcAft>
                <a:spcPts val="0"/>
              </a:spcAft>
              <a:buClr>
                <a:srgbClr val="000000"/>
              </a:buClr>
              <a:buSzTx/>
              <a:buFont typeface="Arial"/>
              <a:buNone/>
              <a:tabLst>
                <a:tab pos="355600" algn="l"/>
              </a:tabLst>
              <a:defRPr/>
            </a:pPr>
            <a:r>
              <a:rPr lang="en-US" altLang="ja-JP" sz="1800" b="1" dirty="0">
                <a:latin typeface="Meiryo"/>
                <a:ea typeface="Meiryo"/>
                <a:cs typeface="Meiryo"/>
                <a:sym typeface="Meiryo"/>
              </a:rPr>
              <a:t>	</a:t>
            </a:r>
            <a:r>
              <a:rPr kumimoji="0" lang="ja-JP" altLang="en-US" sz="1800" b="1" i="0" u="none" strike="noStrike" kern="0" cap="none" spc="0" normalizeH="0" baseline="0" noProof="0" dirty="0">
                <a:ln>
                  <a:noFill/>
                </a:ln>
                <a:solidFill>
                  <a:srgbClr val="000000"/>
                </a:solidFill>
                <a:effectLst/>
                <a:uLnTx/>
                <a:uFillTx/>
                <a:latin typeface="Meiryo"/>
                <a:ea typeface="Meiryo"/>
                <a:cs typeface="Meiryo"/>
                <a:sym typeface="Meiryo"/>
              </a:rPr>
              <a:t>ルームに入室</a:t>
            </a:r>
            <a:r>
              <a:rPr kumimoji="0" lang="en-US" altLang="ja-JP" sz="1800" b="1" i="0" u="none" strike="noStrike" kern="0" cap="none" spc="0" normalizeH="0" baseline="0" noProof="0" dirty="0">
                <a:ln>
                  <a:noFill/>
                </a:ln>
                <a:solidFill>
                  <a:srgbClr val="000000"/>
                </a:solidFill>
                <a:effectLst/>
                <a:uLnTx/>
                <a:uFillTx/>
                <a:latin typeface="Meiryo"/>
                <a:ea typeface="Meiryo"/>
                <a:cs typeface="Meiryo"/>
                <a:sym typeface="Meiryo"/>
              </a:rPr>
              <a:t>｣</a:t>
            </a:r>
          </a:p>
          <a:p>
            <a:pPr marL="9525" marR="0" lvl="0" algn="l" defTabSz="914400" rtl="0" eaLnBrk="1" fontAlgn="auto" latinLnBrk="0" hangingPunct="1">
              <a:lnSpc>
                <a:spcPct val="100000"/>
              </a:lnSpc>
              <a:spcBef>
                <a:spcPts val="167"/>
              </a:spcBef>
              <a:spcAft>
                <a:spcPts val="0"/>
              </a:spcAft>
              <a:buClr>
                <a:srgbClr val="000000"/>
              </a:buClr>
              <a:buSzTx/>
              <a:buFont typeface="Arial"/>
              <a:buNone/>
              <a:tabLst>
                <a:tab pos="355600" algn="l"/>
              </a:tabLst>
              <a:defRPr/>
            </a:pPr>
            <a:r>
              <a:rPr lang="en-US" altLang="ja-JP" sz="1800" b="1" dirty="0">
                <a:latin typeface="Meiryo"/>
                <a:ea typeface="Meiryo"/>
                <a:cs typeface="Meiryo"/>
                <a:sym typeface="Meiryo"/>
              </a:rPr>
              <a:t>	</a:t>
            </a:r>
            <a:r>
              <a:rPr kumimoji="0" lang="ja-JP" altLang="en-US" sz="1800" b="1" i="0" u="none" strike="noStrike" kern="0" cap="none" spc="0" normalizeH="0" baseline="0" noProof="0" dirty="0">
                <a:ln>
                  <a:noFill/>
                </a:ln>
                <a:solidFill>
                  <a:srgbClr val="000000"/>
                </a:solidFill>
                <a:effectLst/>
                <a:uLnTx/>
                <a:uFillTx/>
                <a:latin typeface="Meiryo"/>
                <a:ea typeface="Meiryo"/>
                <a:cs typeface="Meiryo"/>
                <a:sym typeface="Meiryo"/>
              </a:rPr>
              <a:t>をタップ</a:t>
            </a:r>
          </a:p>
          <a:p>
            <a:pPr marL="9525" marR="0" lvl="0" algn="l" defTabSz="914400" rtl="0" eaLnBrk="1" fontAlgn="auto" latinLnBrk="0" hangingPunct="1">
              <a:lnSpc>
                <a:spcPct val="100000"/>
              </a:lnSpc>
              <a:spcBef>
                <a:spcPts val="167"/>
              </a:spcBef>
              <a:spcAft>
                <a:spcPts val="0"/>
              </a:spcAft>
              <a:buClr>
                <a:srgbClr val="000000"/>
              </a:buClr>
              <a:buSzTx/>
              <a:buFont typeface="Arial"/>
              <a:buNone/>
              <a:tabLst>
                <a:tab pos="355600" algn="l"/>
              </a:tabLst>
              <a:defRPr/>
            </a:pPr>
            <a:r>
              <a:rPr kumimoji="0" lang="ja-JP" altLang="en-US" sz="2400" b="1" i="0" u="none" strike="noStrike" kern="0" cap="none" spc="0" normalizeH="0" baseline="0" noProof="0" dirty="0">
                <a:ln>
                  <a:noFill/>
                </a:ln>
                <a:solidFill>
                  <a:srgbClr val="009650"/>
                </a:solidFill>
                <a:effectLst/>
                <a:uLnTx/>
                <a:uFillTx/>
                <a:latin typeface="Meiryo"/>
                <a:ea typeface="Meiryo"/>
                <a:cs typeface="Meiryo"/>
                <a:sym typeface="Meiryo"/>
              </a:rPr>
              <a:t>❸</a:t>
            </a:r>
            <a:r>
              <a:rPr kumimoji="0" lang="en-US" altLang="ja-JP" sz="2400" b="1" i="0" u="none" strike="noStrike" kern="0" cap="none" spc="0" normalizeH="0" baseline="0" noProof="0" dirty="0">
                <a:ln>
                  <a:noFill/>
                </a:ln>
                <a:solidFill>
                  <a:srgbClr val="009650"/>
                </a:solidFill>
                <a:effectLst/>
                <a:uLnTx/>
                <a:uFillTx/>
                <a:latin typeface="Meiryo"/>
                <a:ea typeface="Meiryo"/>
                <a:cs typeface="Meiryo"/>
                <a:sym typeface="Meiryo"/>
              </a:rPr>
              <a:t>	</a:t>
            </a:r>
            <a:r>
              <a:rPr kumimoji="0" lang="ja-JP" altLang="en-US" sz="1800" b="1" i="0" u="none" strike="noStrike" kern="0" cap="none" spc="0" normalizeH="0" baseline="0" noProof="0" dirty="0">
                <a:ln>
                  <a:noFill/>
                </a:ln>
                <a:solidFill>
                  <a:srgbClr val="000000"/>
                </a:solidFill>
                <a:effectLst/>
                <a:uLnTx/>
                <a:uFillTx/>
                <a:latin typeface="Meiryo"/>
                <a:ea typeface="Meiryo"/>
                <a:cs typeface="Meiryo"/>
                <a:sym typeface="Meiryo"/>
              </a:rPr>
              <a:t>医師が入室して</a:t>
            </a:r>
            <a:endParaRPr kumimoji="0" lang="en-US" altLang="ja-JP" sz="1800" b="1" i="0" u="none" strike="noStrike" kern="0" cap="none" spc="0" normalizeH="0" baseline="0" noProof="0" dirty="0">
              <a:ln>
                <a:noFill/>
              </a:ln>
              <a:solidFill>
                <a:srgbClr val="000000"/>
              </a:solidFill>
              <a:effectLst/>
              <a:uLnTx/>
              <a:uFillTx/>
              <a:latin typeface="Meiryo"/>
              <a:ea typeface="Meiryo"/>
              <a:cs typeface="Meiryo"/>
              <a:sym typeface="Meiryo"/>
            </a:endParaRPr>
          </a:p>
          <a:p>
            <a:pPr marL="9525" marR="0" lvl="0" algn="l" defTabSz="914400" rtl="0" eaLnBrk="1" fontAlgn="auto" latinLnBrk="0" hangingPunct="1">
              <a:lnSpc>
                <a:spcPct val="100000"/>
              </a:lnSpc>
              <a:spcBef>
                <a:spcPts val="167"/>
              </a:spcBef>
              <a:spcAft>
                <a:spcPts val="0"/>
              </a:spcAft>
              <a:buClr>
                <a:srgbClr val="000000"/>
              </a:buClr>
              <a:buSzTx/>
              <a:buFont typeface="Arial"/>
              <a:buNone/>
              <a:tabLst>
                <a:tab pos="355600" algn="l"/>
              </a:tabLst>
              <a:defRPr/>
            </a:pPr>
            <a:r>
              <a:rPr lang="en-US" altLang="ja-JP" sz="1800" b="1" dirty="0">
                <a:latin typeface="Meiryo"/>
                <a:ea typeface="Meiryo"/>
                <a:cs typeface="Meiryo"/>
                <a:sym typeface="Meiryo"/>
              </a:rPr>
              <a:t>	</a:t>
            </a:r>
            <a:r>
              <a:rPr kumimoji="0" lang="ja-JP" altLang="en-US" sz="1800" b="1" i="0" u="none" strike="noStrike" kern="0" cap="none" spc="0" normalizeH="0" baseline="0" noProof="0" dirty="0">
                <a:ln>
                  <a:noFill/>
                </a:ln>
                <a:solidFill>
                  <a:srgbClr val="000000"/>
                </a:solidFill>
                <a:effectLst/>
                <a:uLnTx/>
                <a:uFillTx/>
                <a:latin typeface="Meiryo"/>
                <a:ea typeface="Meiryo"/>
                <a:cs typeface="Meiryo"/>
                <a:sym typeface="Meiryo"/>
              </a:rPr>
              <a:t>いない場合は</a:t>
            </a:r>
            <a:endParaRPr kumimoji="0" lang="en-US" altLang="ja-JP" sz="1800" b="1" i="0" u="none" strike="noStrike" kern="0" cap="none" spc="0" normalizeH="0" baseline="0" noProof="0" dirty="0">
              <a:ln>
                <a:noFill/>
              </a:ln>
              <a:solidFill>
                <a:srgbClr val="000000"/>
              </a:solidFill>
              <a:effectLst/>
              <a:uLnTx/>
              <a:uFillTx/>
              <a:latin typeface="Meiryo"/>
              <a:ea typeface="Meiryo"/>
              <a:cs typeface="Meiryo"/>
              <a:sym typeface="Meiryo"/>
            </a:endParaRPr>
          </a:p>
          <a:p>
            <a:pPr marL="9525" marR="0" lvl="0" algn="l" defTabSz="914400" rtl="0" eaLnBrk="1" fontAlgn="auto" latinLnBrk="0" hangingPunct="1">
              <a:lnSpc>
                <a:spcPct val="100000"/>
              </a:lnSpc>
              <a:spcBef>
                <a:spcPts val="167"/>
              </a:spcBef>
              <a:spcAft>
                <a:spcPts val="0"/>
              </a:spcAft>
              <a:buClr>
                <a:srgbClr val="000000"/>
              </a:buClr>
              <a:buSzTx/>
              <a:buFont typeface="Arial"/>
              <a:buNone/>
              <a:tabLst>
                <a:tab pos="355600" algn="l"/>
              </a:tabLst>
              <a:defRPr/>
            </a:pPr>
            <a:r>
              <a:rPr lang="en-US" altLang="ja-JP" sz="1800" b="1" dirty="0">
                <a:latin typeface="Meiryo"/>
                <a:ea typeface="Meiryo"/>
                <a:cs typeface="Meiryo"/>
                <a:sym typeface="Meiryo"/>
              </a:rPr>
              <a:t>	</a:t>
            </a:r>
            <a:r>
              <a:rPr kumimoji="0" lang="ja-JP" altLang="en-US" sz="1800" b="1" i="0" u="none" strike="noStrike" kern="0" cap="none" spc="0" normalizeH="0" baseline="0" noProof="0" dirty="0">
                <a:ln>
                  <a:noFill/>
                </a:ln>
                <a:solidFill>
                  <a:srgbClr val="000000"/>
                </a:solidFill>
                <a:effectLst/>
                <a:uLnTx/>
                <a:uFillTx/>
                <a:latin typeface="Meiryo"/>
                <a:ea typeface="Meiryo"/>
                <a:cs typeface="Meiryo"/>
                <a:sym typeface="Meiryo"/>
              </a:rPr>
              <a:t>しばらく待ちます</a:t>
            </a:r>
            <a:endParaRPr kumimoji="0" lang="ja-JP" altLang="en-US" sz="14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31"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a:t> </a:t>
            </a:r>
            <a:br>
              <a:rPr lang="en-US" altLang="ja-JP" sz="1800" dirty="0"/>
            </a:br>
            <a:r>
              <a:rPr lang="en-US" altLang="ja-JP" sz="3200" dirty="0">
                <a:latin typeface="Meiryo"/>
                <a:ea typeface="Meiryo"/>
                <a:cs typeface="Meiryo"/>
                <a:sym typeface="Meiryo"/>
              </a:rPr>
              <a:t>【17</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ビデオ診</a:t>
            </a:r>
            <a:r>
              <a:rPr lang="ja-JP" altLang="ja-JP" sz="3200" spc="-1250" dirty="0">
                <a:latin typeface="Meiryo"/>
                <a:ea typeface="Meiryo"/>
                <a:cs typeface="Meiryo"/>
                <a:sym typeface="Meiryo"/>
              </a:rPr>
              <a:t>察</a:t>
            </a:r>
            <a:r>
              <a:rPr lang="ja-JP" altLang="en-US" sz="3200" b="0" dirty="0">
                <a:sym typeface="Meiryo"/>
              </a:rPr>
              <a:t>［</a:t>
            </a:r>
            <a:r>
              <a:rPr lang="en-US" altLang="ja-JP" sz="3200" dirty="0">
                <a:latin typeface="Meiryo"/>
                <a:ea typeface="Meiryo"/>
                <a:cs typeface="Meiryo"/>
                <a:sym typeface="Meiryo"/>
              </a:rPr>
              <a:t>1</a:t>
            </a:r>
            <a:r>
              <a:rPr lang="ja-JP" altLang="en-US" sz="3200" b="0" dirty="0">
                <a:sym typeface="Meiryo"/>
              </a:rPr>
              <a:t>］</a:t>
            </a:r>
            <a:endParaRPr kumimoji="0" lang="ja-JP" altLang="en-US" sz="3200" b="0" kern="0" dirty="0"/>
          </a:p>
        </p:txBody>
      </p:sp>
      <p:pic>
        <p:nvPicPr>
          <p:cNvPr id="30" name="Google Shape;824;p23" descr="オンライン待合室画面で右下に自分の映像が映っている画像"/>
          <p:cNvPicPr preferRelativeResize="0">
            <a:picLocks noChangeAspect="1"/>
          </p:cNvPicPr>
          <p:nvPr/>
        </p:nvPicPr>
        <p:blipFill>
          <a:blip r:embed="rId7">
            <a:alphaModFix/>
          </a:blip>
          <a:stretch>
            <a:fillRect/>
          </a:stretch>
        </p:blipFill>
        <p:spPr>
          <a:xfrm>
            <a:off x="6917193" y="1987732"/>
            <a:ext cx="1620000" cy="3507814"/>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32" name="Google Shape;825;p23" descr="音声と映像を確認という画面で「ビデオ診察ルームに入室」をタップしている画像"/>
          <p:cNvPicPr preferRelativeResize="0">
            <a:picLocks noChangeAspect="1"/>
          </p:cNvPicPr>
          <p:nvPr/>
        </p:nvPicPr>
        <p:blipFill>
          <a:blip r:embed="rId8">
            <a:alphaModFix/>
          </a:blip>
          <a:stretch>
            <a:fillRect/>
          </a:stretch>
        </p:blipFill>
        <p:spPr>
          <a:xfrm>
            <a:off x="4759819" y="1987732"/>
            <a:ext cx="1620000" cy="3507845"/>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33" name="Google Shape;826;p23"/>
          <p:cNvSpPr/>
          <p:nvPr/>
        </p:nvSpPr>
        <p:spPr>
          <a:xfrm>
            <a:off x="4798543" y="4321463"/>
            <a:ext cx="1548000"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pic>
        <p:nvPicPr>
          <p:cNvPr id="34" name="Google Shape;827;p23" descr="診察詳細画面で「ビデオ診察画面へ」をタップしている画像"/>
          <p:cNvPicPr preferRelativeResize="0">
            <a:picLocks noChangeAspect="1"/>
          </p:cNvPicPr>
          <p:nvPr/>
        </p:nvPicPr>
        <p:blipFill>
          <a:blip r:embed="rId9">
            <a:alphaModFix/>
          </a:blip>
          <a:stretch>
            <a:fillRect/>
          </a:stretch>
        </p:blipFill>
        <p:spPr>
          <a:xfrm>
            <a:off x="2602416" y="1987732"/>
            <a:ext cx="1623661" cy="35064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35" name="Google Shape;830;p23"/>
          <p:cNvSpPr/>
          <p:nvPr/>
        </p:nvSpPr>
        <p:spPr>
          <a:xfrm>
            <a:off x="2633401" y="3505706"/>
            <a:ext cx="1548000" cy="50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6" name="Google Shape;848;p23"/>
          <p:cNvSpPr txBox="1"/>
          <p:nvPr/>
        </p:nvSpPr>
        <p:spPr>
          <a:xfrm>
            <a:off x="2496626" y="5505052"/>
            <a:ext cx="5400000" cy="73862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sz="1400" b="1" dirty="0">
                <a:solidFill>
                  <a:srgbClr val="009650"/>
                </a:solidFill>
                <a:latin typeface="Meiryo"/>
                <a:ea typeface="Meiryo"/>
                <a:cs typeface="Meiryo"/>
                <a:sym typeface="Meiryo"/>
              </a:rPr>
              <a:t>お薬をどのように受け取るかを医師と確認しましょう。</a:t>
            </a:r>
            <a:endParaRPr sz="1400" b="1" dirty="0">
              <a:solidFill>
                <a:srgbClr val="009650"/>
              </a:solidFill>
              <a:latin typeface="Meiryo"/>
              <a:ea typeface="Meiryo"/>
              <a:cs typeface="Meiryo"/>
              <a:sym typeface="Meiryo"/>
            </a:endParaRPr>
          </a:p>
          <a:p>
            <a:r>
              <a:rPr lang="en-US" altLang="ja-JP" sz="1400" b="1" dirty="0">
                <a:solidFill>
                  <a:srgbClr val="009650"/>
                </a:solidFill>
                <a:latin typeface="Meiryo"/>
                <a:ea typeface="Meiryo"/>
                <a:cs typeface="Meiryo"/>
                <a:sym typeface="Meiryo"/>
              </a:rPr>
              <a:t>A.</a:t>
            </a:r>
            <a:r>
              <a:rPr lang="ja-JP" altLang="en-US" sz="1400" b="1" dirty="0">
                <a:solidFill>
                  <a:srgbClr val="009650"/>
                </a:solidFill>
                <a:latin typeface="Meiryo"/>
                <a:ea typeface="Meiryo"/>
                <a:cs typeface="Meiryo"/>
                <a:sym typeface="Meiryo"/>
              </a:rPr>
              <a:t>お薬・処方箋がご自宅に</a:t>
            </a:r>
            <a:r>
              <a:rPr lang="ja-JP" sz="1400" b="1" dirty="0">
                <a:solidFill>
                  <a:srgbClr val="009650"/>
                </a:solidFill>
                <a:latin typeface="Meiryo"/>
                <a:ea typeface="Meiryo"/>
                <a:cs typeface="Meiryo"/>
                <a:sym typeface="Meiryo"/>
              </a:rPr>
              <a:t>届く</a:t>
            </a:r>
            <a:endParaRPr lang="ja-JP" altLang="en-US" sz="1400" b="1" strike="sngStrike" dirty="0">
              <a:solidFill>
                <a:srgbClr val="009650"/>
              </a:solidFill>
              <a:latin typeface="Meiryo"/>
              <a:ea typeface="Meiryo"/>
              <a:cs typeface="Meiryo"/>
              <a:sym typeface="Meiryo"/>
            </a:endParaRPr>
          </a:p>
          <a:p>
            <a:r>
              <a:rPr lang="en-US" altLang="ja-JP" sz="1400" b="1" dirty="0">
                <a:solidFill>
                  <a:srgbClr val="009650"/>
                </a:solidFill>
                <a:latin typeface="Meiryo"/>
                <a:ea typeface="Meiryo"/>
                <a:cs typeface="Meiryo"/>
                <a:sym typeface="Meiryo"/>
              </a:rPr>
              <a:t>B.</a:t>
            </a:r>
            <a:r>
              <a:rPr lang="ja-JP" altLang="en-US" b="1" dirty="0">
                <a:solidFill>
                  <a:srgbClr val="009650"/>
                </a:solidFill>
                <a:latin typeface="Meiryo"/>
                <a:ea typeface="Meiryo"/>
                <a:cs typeface="Meiryo"/>
                <a:sym typeface="Meiryo"/>
              </a:rPr>
              <a:t>処方箋が薬局に届く</a:t>
            </a:r>
            <a:endParaRPr lang="ja-JP" altLang="en-US" sz="1400" b="1" strike="sngStrike" dirty="0">
              <a:solidFill>
                <a:srgbClr val="009650"/>
              </a:solidFill>
              <a:latin typeface="Meiryo"/>
              <a:ea typeface="Meiryo"/>
              <a:cs typeface="Meiryo"/>
              <a:sym typeface="Meiryo"/>
            </a:endParaRPr>
          </a:p>
        </p:txBody>
      </p:sp>
      <p:grpSp>
        <p:nvGrpSpPr>
          <p:cNvPr id="37" name="図形グループ 36"/>
          <p:cNvGrpSpPr>
            <a:grpSpLocks noChangeAspect="1"/>
          </p:cNvGrpSpPr>
          <p:nvPr/>
        </p:nvGrpSpPr>
        <p:grpSpPr>
          <a:xfrm>
            <a:off x="4310195" y="3304349"/>
            <a:ext cx="360000" cy="270000"/>
            <a:chOff x="3355262" y="5469690"/>
            <a:chExt cx="720000" cy="540000"/>
          </a:xfrm>
        </p:grpSpPr>
        <p:cxnSp>
          <p:nvCxnSpPr>
            <p:cNvPr id="38" name="カギ線コネクタ 37"/>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40" name="図形グループ 39"/>
          <p:cNvGrpSpPr>
            <a:grpSpLocks noChangeAspect="1"/>
          </p:cNvGrpSpPr>
          <p:nvPr/>
        </p:nvGrpSpPr>
        <p:grpSpPr>
          <a:xfrm>
            <a:off x="6476038" y="3304349"/>
            <a:ext cx="360000" cy="270000"/>
            <a:chOff x="3355262" y="5469690"/>
            <a:chExt cx="720000" cy="540000"/>
          </a:xfrm>
        </p:grpSpPr>
        <p:cxnSp>
          <p:nvCxnSpPr>
            <p:cNvPr id="41" name="カギ線コネクタ 40"/>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43" name="図形グループ 42"/>
          <p:cNvGrpSpPr/>
          <p:nvPr/>
        </p:nvGrpSpPr>
        <p:grpSpPr>
          <a:xfrm>
            <a:off x="6764639" y="1835455"/>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6" name="図形グループ 45"/>
          <p:cNvGrpSpPr/>
          <p:nvPr/>
        </p:nvGrpSpPr>
        <p:grpSpPr>
          <a:xfrm>
            <a:off x="4654773" y="4173921"/>
            <a:ext cx="296586" cy="293005"/>
            <a:chOff x="3546641" y="3995693"/>
            <a:chExt cx="296586" cy="293005"/>
          </a:xfrm>
        </p:grpSpPr>
        <p:sp>
          <p:nvSpPr>
            <p:cNvPr id="47" name="円/楕円 4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フリーフォーム 4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9" name="図形グループ 48"/>
          <p:cNvGrpSpPr/>
          <p:nvPr/>
        </p:nvGrpSpPr>
        <p:grpSpPr>
          <a:xfrm>
            <a:off x="2478964" y="3352513"/>
            <a:ext cx="296587" cy="293005"/>
            <a:chOff x="2897417" y="3995693"/>
            <a:chExt cx="296587" cy="293005"/>
          </a:xfrm>
        </p:grpSpPr>
        <p:sp>
          <p:nvSpPr>
            <p:cNvPr id="50" name="円/楕円 4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テキスト ボックス 5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497"/>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780B144-9BF1-4B49-AFC0-0E7FC9A6603E}"/>
              </a:ext>
            </a:extLst>
          </p:cNvPr>
          <p:cNvGraphicFramePr>
            <a:graphicFrameLocks noChangeAspect="1"/>
          </p:cNvGraphicFramePr>
          <p:nvPr>
            <p:custDataLst>
              <p:tags r:id="rId2"/>
            </p:custDataLst>
            <p:extLst>
              <p:ext uri="{D42A27DB-BD31-4B8C-83A1-F6EECF244321}">
                <p14:modId xmlns:p14="http://schemas.microsoft.com/office/powerpoint/2010/main" val="207321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06"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01" name="Google Shape;1501;g1445ac9894b_0_58"/>
          <p:cNvSpPr txBox="1"/>
          <p:nvPr/>
        </p:nvSpPr>
        <p:spPr>
          <a:xfrm>
            <a:off x="323791" y="1905000"/>
            <a:ext cx="2247300" cy="2040928"/>
          </a:xfrm>
          <a:prstGeom prst="rect">
            <a:avLst/>
          </a:prstGeom>
          <a:noFill/>
          <a:ln>
            <a:noFill/>
          </a:ln>
        </p:spPr>
        <p:txBody>
          <a:bodyPr spcFirstLastPara="1" wrap="square" lIns="0" tIns="12050" rIns="0" bIns="0" anchor="t" anchorCtr="0">
            <a:spAutoFit/>
          </a:bodyPr>
          <a:lstStyle/>
          <a:p>
            <a:pPr marR="4343" lvl="0" algn="l" rtl="0">
              <a:spcBef>
                <a:spcPts val="0"/>
              </a:spcBef>
              <a:spcAft>
                <a:spcPts val="0"/>
              </a:spcAft>
              <a:buNone/>
              <a:tabLst>
                <a:tab pos="355600" algn="l"/>
              </a:tabLst>
            </a:pPr>
            <a:r>
              <a:rPr lang="ja-JP" sz="2400" b="1">
                <a:solidFill>
                  <a:srgbClr val="009650"/>
                </a:solidFill>
                <a:latin typeface="Meiryo"/>
                <a:ea typeface="Meiryo"/>
                <a:cs typeface="Meiryo"/>
                <a:sym typeface="Meiryo"/>
              </a:rPr>
              <a:t>❶</a:t>
            </a:r>
            <a:r>
              <a:rPr lang="en-US" altLang="ja-JP" sz="2400" b="1">
                <a:solidFill>
                  <a:srgbClr val="009650"/>
                </a:solidFill>
                <a:latin typeface="Meiryo"/>
                <a:ea typeface="Meiryo"/>
                <a:cs typeface="Meiryo"/>
                <a:sym typeface="Meiryo"/>
              </a:rPr>
              <a:t>	</a:t>
            </a:r>
            <a:r>
              <a:rPr lang="en-US" altLang="ja-JP" sz="1800" b="1">
                <a:solidFill>
                  <a:schemeClr val="tx1"/>
                </a:solidFill>
                <a:latin typeface="Meiryo"/>
                <a:ea typeface="Meiryo"/>
                <a:cs typeface="Meiryo"/>
                <a:sym typeface="Meiryo"/>
              </a:rPr>
              <a:t>｢</a:t>
            </a:r>
            <a:r>
              <a:rPr lang="ja-JP" altLang="en-US" sz="1800" b="1">
                <a:solidFill>
                  <a:schemeClr val="tx1"/>
                </a:solidFill>
                <a:latin typeface="Meiryo"/>
                <a:ea typeface="Meiryo"/>
                <a:cs typeface="Meiryo"/>
                <a:sym typeface="Meiryo"/>
              </a:rPr>
              <a:t>退室</a:t>
            </a:r>
            <a:r>
              <a:rPr lang="ja-JP" altLang="en-US" sz="1800" b="1" dirty="0">
                <a:solidFill>
                  <a:schemeClr val="tx1"/>
                </a:solidFill>
                <a:latin typeface="Meiryo"/>
                <a:ea typeface="Meiryo"/>
                <a:cs typeface="Meiryo"/>
                <a:sym typeface="Meiryo"/>
              </a:rPr>
              <a:t>する</a:t>
            </a:r>
            <a:r>
              <a:rPr lang="en-US" altLang="ja-JP" sz="1800" b="1" dirty="0">
                <a:solidFill>
                  <a:schemeClr val="tx1"/>
                </a:solidFill>
                <a:latin typeface="Meiryo"/>
                <a:ea typeface="Meiryo"/>
                <a:cs typeface="Meiryo"/>
                <a:sym typeface="Meiryo"/>
              </a:rPr>
              <a:t>｣</a:t>
            </a:r>
            <a:r>
              <a:rPr lang="ja-JP" sz="1800" b="1" dirty="0">
                <a:solidFill>
                  <a:schemeClr val="dk1"/>
                </a:solidFill>
                <a:latin typeface="Meiryo"/>
                <a:ea typeface="Meiryo"/>
                <a:cs typeface="Meiryo"/>
                <a:sym typeface="Meiryo"/>
              </a:rPr>
              <a:t>を</a:t>
            </a:r>
            <a:endParaRPr lang="en-US" altLang="ja-JP" sz="1800" b="1" dirty="0">
              <a:solidFill>
                <a:schemeClr val="dk1"/>
              </a:solidFill>
              <a:latin typeface="Meiryo"/>
              <a:ea typeface="Meiryo"/>
              <a:cs typeface="Meiryo"/>
              <a:sym typeface="Meiryo"/>
            </a:endParaRPr>
          </a:p>
          <a:p>
            <a:pPr marR="4343" lvl="0" algn="l" rtl="0">
              <a:spcBef>
                <a:spcPts val="0"/>
              </a:spcBef>
              <a:spcAft>
                <a:spcPts val="0"/>
              </a:spcAft>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タップして終了</a:t>
            </a:r>
            <a:endParaRPr dirty="0">
              <a:solidFill>
                <a:schemeClr val="dk1"/>
              </a:solidFill>
            </a:endParaRPr>
          </a:p>
          <a:p>
            <a:pPr marR="4343" lvl="0" algn="l" rtl="0">
              <a:spcBef>
                <a:spcPts val="85"/>
              </a:spcBef>
              <a:spcAft>
                <a:spcPts val="0"/>
              </a:spcAft>
              <a:buClr>
                <a:schemeClr val="dk1"/>
              </a:buClr>
              <a:buFont typeface="Arial"/>
              <a:buNone/>
              <a:tabLst>
                <a:tab pos="355600" algn="l"/>
              </a:tabLst>
            </a:pPr>
            <a:r>
              <a:rPr lang="en-US" altLang="ja-JP" b="1" dirty="0">
                <a:solidFill>
                  <a:srgbClr val="009650"/>
                </a:solidFill>
                <a:latin typeface="Meiryo"/>
                <a:ea typeface="Meiryo"/>
                <a:cs typeface="Meiryo"/>
                <a:sym typeface="Meiryo"/>
              </a:rPr>
              <a:t>	</a:t>
            </a:r>
            <a:r>
              <a:rPr lang="ja-JP" b="1" dirty="0">
                <a:solidFill>
                  <a:srgbClr val="009650"/>
                </a:solidFill>
                <a:latin typeface="Meiryo"/>
                <a:ea typeface="Meiryo"/>
                <a:cs typeface="Meiryo"/>
                <a:sym typeface="Meiryo"/>
              </a:rPr>
              <a:t>顔と音声が出ていれば</a:t>
            </a:r>
            <a:endParaRPr b="1" dirty="0">
              <a:solidFill>
                <a:srgbClr val="009650"/>
              </a:solidFill>
              <a:latin typeface="Meiryo"/>
              <a:ea typeface="Meiryo"/>
              <a:cs typeface="Meiryo"/>
              <a:sym typeface="Meiryo"/>
            </a:endParaRPr>
          </a:p>
          <a:p>
            <a:pPr marR="4343" lvl="0" algn="l" rtl="0">
              <a:spcBef>
                <a:spcPts val="85"/>
              </a:spcBef>
              <a:spcAft>
                <a:spcPts val="0"/>
              </a:spcAft>
              <a:buClr>
                <a:schemeClr val="dk1"/>
              </a:buClr>
              <a:buFont typeface="Arial"/>
              <a:buNone/>
              <a:tabLst>
                <a:tab pos="355600" algn="l"/>
              </a:tabLst>
            </a:pPr>
            <a:r>
              <a:rPr lang="en-US" altLang="ja-JP" b="1" dirty="0">
                <a:solidFill>
                  <a:srgbClr val="009650"/>
                </a:solidFill>
                <a:latin typeface="Meiryo"/>
                <a:ea typeface="Meiryo"/>
                <a:cs typeface="Meiryo"/>
                <a:sym typeface="Meiryo"/>
              </a:rPr>
              <a:t>	</a:t>
            </a:r>
            <a:r>
              <a:rPr lang="ja-JP" b="1" dirty="0">
                <a:solidFill>
                  <a:srgbClr val="009650"/>
                </a:solidFill>
                <a:latin typeface="Meiryo"/>
                <a:ea typeface="Meiryo"/>
                <a:cs typeface="Meiryo"/>
                <a:sym typeface="Meiryo"/>
              </a:rPr>
              <a:t>問題なし</a:t>
            </a:r>
            <a:endParaRPr sz="1800" b="1" dirty="0">
              <a:solidFill>
                <a:schemeClr val="dk1"/>
              </a:solidFill>
              <a:latin typeface="Meiryo"/>
              <a:ea typeface="Meiryo"/>
              <a:cs typeface="Meiryo"/>
              <a:sym typeface="Meiryo"/>
            </a:endParaRPr>
          </a:p>
          <a:p>
            <a:pPr marR="0" lvl="0" algn="l" rtl="0">
              <a:spcBef>
                <a:spcPts val="167"/>
              </a:spcBef>
              <a:spcAft>
                <a:spcPts val="0"/>
              </a:spcAft>
              <a:buNone/>
              <a:tabLst>
                <a:tab pos="355600" algn="l"/>
              </a:tabLst>
            </a:pPr>
            <a:r>
              <a:rPr lang="ja-JP" sz="2400" b="1" dirty="0">
                <a:solidFill>
                  <a:srgbClr val="009650"/>
                </a:solidFill>
                <a:latin typeface="Meiryo"/>
                <a:ea typeface="Meiryo"/>
                <a:cs typeface="Meiryo"/>
                <a:sym typeface="Meiryo"/>
              </a:rPr>
              <a:t>❷</a:t>
            </a:r>
            <a:r>
              <a:rPr lang="en-US" altLang="ja-JP" sz="2400" b="1" dirty="0">
                <a:solidFill>
                  <a:srgbClr val="009650"/>
                </a:solidFill>
                <a:latin typeface="Meiryo"/>
                <a:ea typeface="Meiryo"/>
                <a:cs typeface="Meiryo"/>
                <a:sym typeface="Meiryo"/>
              </a:rPr>
              <a:t>	</a:t>
            </a:r>
            <a:r>
              <a:rPr lang="ja-JP" altLang="en-US" sz="1800" b="1" dirty="0">
                <a:solidFill>
                  <a:schemeClr val="dk1"/>
                </a:solidFill>
                <a:latin typeface="Meiryo"/>
                <a:ea typeface="Meiryo"/>
                <a:cs typeface="Meiryo"/>
                <a:sym typeface="Meiryo"/>
              </a:rPr>
              <a:t>診察完了</a:t>
            </a:r>
          </a:p>
          <a:p>
            <a:pPr marR="4343" lvl="0" algn="l" rtl="0">
              <a:spcBef>
                <a:spcPts val="85"/>
              </a:spcBef>
              <a:spcAft>
                <a:spcPts val="0"/>
              </a:spcAft>
              <a:buNone/>
              <a:tabLst>
                <a:tab pos="355600" algn="l"/>
              </a:tabLst>
            </a:pPr>
            <a:endParaRPr sz="1400" dirty="0">
              <a:solidFill>
                <a:schemeClr val="dk1"/>
              </a:solidFill>
              <a:latin typeface="Calibri"/>
              <a:ea typeface="Calibri"/>
              <a:cs typeface="Calibri"/>
              <a:sym typeface="Calibri"/>
            </a:endParaRPr>
          </a:p>
          <a:p>
            <a:pPr marR="0" lvl="0" algn="l" rtl="0">
              <a:spcBef>
                <a:spcPts val="167"/>
              </a:spcBef>
              <a:spcAft>
                <a:spcPts val="0"/>
              </a:spcAft>
              <a:buClr>
                <a:srgbClr val="000000"/>
              </a:buClr>
              <a:buSzPts val="1800"/>
              <a:buFont typeface="Arial"/>
              <a:buNone/>
              <a:tabLst>
                <a:tab pos="355600" algn="l"/>
              </a:tabLst>
            </a:pPr>
            <a:endParaRPr sz="1800" b="0" i="0" u="none" strike="noStrike" cap="none" dirty="0">
              <a:solidFill>
                <a:schemeClr val="dk1"/>
              </a:solidFill>
              <a:latin typeface="Meiryo"/>
              <a:ea typeface="Meiryo"/>
              <a:cs typeface="Meiryo"/>
              <a:sym typeface="Meiryo"/>
            </a:endParaRPr>
          </a:p>
        </p:txBody>
      </p:sp>
      <p:sp>
        <p:nvSpPr>
          <p:cNvPr id="1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0"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a:t> </a:t>
            </a:r>
            <a:br>
              <a:rPr lang="en-US" altLang="ja-JP" sz="1800" dirty="0"/>
            </a:br>
            <a:r>
              <a:rPr lang="en-US" altLang="ja-JP" sz="3200" dirty="0">
                <a:latin typeface="Meiryo"/>
                <a:ea typeface="Meiryo"/>
                <a:cs typeface="Meiryo"/>
                <a:sym typeface="Meiryo"/>
              </a:rPr>
              <a:t>【17</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ビデオ診</a:t>
            </a:r>
            <a:r>
              <a:rPr lang="ja-JP" altLang="ja-JP" sz="3200" spc="-1250" dirty="0">
                <a:latin typeface="Meiryo"/>
                <a:ea typeface="Meiryo"/>
                <a:cs typeface="Meiryo"/>
                <a:sym typeface="Meiryo"/>
              </a:rPr>
              <a:t>察</a:t>
            </a:r>
            <a:r>
              <a:rPr lang="ja-JP" altLang="en-US" sz="3200" b="0" dirty="0">
                <a:sym typeface="Meiryo"/>
              </a:rPr>
              <a:t>［</a:t>
            </a:r>
            <a:r>
              <a:rPr lang="en-US" altLang="ja-JP" sz="3200" dirty="0">
                <a:latin typeface="Meiryo"/>
                <a:ea typeface="Meiryo"/>
                <a:cs typeface="Meiryo"/>
                <a:sym typeface="Meiryo"/>
              </a:rPr>
              <a:t>2</a:t>
            </a:r>
            <a:r>
              <a:rPr lang="ja-JP" altLang="en-US" sz="3200" b="0" dirty="0">
                <a:sym typeface="Meiryo"/>
              </a:rPr>
              <a:t>］</a:t>
            </a:r>
            <a:endParaRPr kumimoji="0" lang="ja-JP" altLang="en-US" sz="3200" b="0" kern="0" dirty="0"/>
          </a:p>
        </p:txBody>
      </p:sp>
      <p:pic>
        <p:nvPicPr>
          <p:cNvPr id="21" name="Google Shape;855;g143eb037c4f_6_0" descr="診察が完了し「診察お疲れさまでした」と表示されている画像"/>
          <p:cNvPicPr preferRelativeResize="0">
            <a:picLocks noChangeAspect="1"/>
          </p:cNvPicPr>
          <p:nvPr/>
        </p:nvPicPr>
        <p:blipFill>
          <a:blip r:embed="rId7">
            <a:alphaModFix/>
          </a:blip>
          <a:stretch>
            <a:fillRect/>
          </a:stretch>
        </p:blipFill>
        <p:spPr>
          <a:xfrm>
            <a:off x="6201957" y="1992578"/>
            <a:ext cx="1911960" cy="4140000"/>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22" name="Google Shape;856;g143eb037c4f_6_0" descr="診察画面で医師の映像が映っており、右下に自分の映像が映っている画像"/>
          <p:cNvPicPr preferRelativeResize="0">
            <a:picLocks noChangeAspect="1"/>
          </p:cNvPicPr>
          <p:nvPr/>
        </p:nvPicPr>
        <p:blipFill>
          <a:blip r:embed="rId8">
            <a:alphaModFix/>
          </a:blip>
          <a:stretch>
            <a:fillRect/>
          </a:stretch>
        </p:blipFill>
        <p:spPr>
          <a:xfrm>
            <a:off x="2963754" y="1996807"/>
            <a:ext cx="1917066"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3" name="Google Shape;859;g143eb037c4f_6_0"/>
          <p:cNvSpPr/>
          <p:nvPr/>
        </p:nvSpPr>
        <p:spPr>
          <a:xfrm>
            <a:off x="2993308" y="5646757"/>
            <a:ext cx="756000" cy="43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30" name="図形グループ 29"/>
          <p:cNvGrpSpPr>
            <a:grpSpLocks noChangeAspect="1"/>
          </p:cNvGrpSpPr>
          <p:nvPr/>
        </p:nvGrpSpPr>
        <p:grpSpPr>
          <a:xfrm>
            <a:off x="5196435" y="3167090"/>
            <a:ext cx="720000" cy="540000"/>
            <a:chOff x="3355262" y="5469690"/>
            <a:chExt cx="720000" cy="540000"/>
          </a:xfrm>
        </p:grpSpPr>
        <p:cxnSp>
          <p:nvCxnSpPr>
            <p:cNvPr id="31" name="カギ線コネクタ 30"/>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3" name="図形グループ 32"/>
          <p:cNvGrpSpPr/>
          <p:nvPr/>
        </p:nvGrpSpPr>
        <p:grpSpPr>
          <a:xfrm>
            <a:off x="6050939" y="1845632"/>
            <a:ext cx="296586" cy="293005"/>
            <a:chOff x="3546641" y="3995693"/>
            <a:chExt cx="296586" cy="293005"/>
          </a:xfrm>
        </p:grpSpPr>
        <p:sp>
          <p:nvSpPr>
            <p:cNvPr id="34" name="円/楕円 3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フリーフォーム 34"/>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6" name="図形グループ 35"/>
          <p:cNvGrpSpPr/>
          <p:nvPr/>
        </p:nvGrpSpPr>
        <p:grpSpPr>
          <a:xfrm>
            <a:off x="2847989" y="5494986"/>
            <a:ext cx="296587" cy="293005"/>
            <a:chOff x="2897417" y="3995693"/>
            <a:chExt cx="296587" cy="293005"/>
          </a:xfrm>
        </p:grpSpPr>
        <p:sp>
          <p:nvSpPr>
            <p:cNvPr id="37" name="円/楕円 3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519"/>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5DB1899-3135-4A3F-8A7F-23C6E4A5BD49}"/>
              </a:ext>
            </a:extLst>
          </p:cNvPr>
          <p:cNvGraphicFramePr>
            <a:graphicFrameLocks noChangeAspect="1"/>
          </p:cNvGraphicFramePr>
          <p:nvPr>
            <p:custDataLst>
              <p:tags r:id="rId2"/>
            </p:custDataLst>
            <p:extLst>
              <p:ext uri="{D42A27DB-BD31-4B8C-83A1-F6EECF244321}">
                <p14:modId xmlns:p14="http://schemas.microsoft.com/office/powerpoint/2010/main" val="2929227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31"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527" name="Google Shape;1527;g1445ac9894b_0_79"/>
          <p:cNvCxnSpPr/>
          <p:nvPr/>
        </p:nvCxnSpPr>
        <p:spPr>
          <a:xfrm>
            <a:off x="4572000" y="1270000"/>
            <a:ext cx="0" cy="5040000"/>
          </a:xfrm>
          <a:prstGeom prst="straightConnector1">
            <a:avLst/>
          </a:prstGeom>
          <a:noFill/>
          <a:ln w="19050" cap="flat" cmpd="sng">
            <a:solidFill>
              <a:srgbClr val="009650"/>
            </a:solidFill>
            <a:prstDash val="solid"/>
            <a:round/>
            <a:headEnd type="none" w="sm" len="sm"/>
            <a:tailEnd type="none" w="sm" len="sm"/>
          </a:ln>
        </p:spPr>
      </p:cxnSp>
      <p:sp>
        <p:nvSpPr>
          <p:cNvPr id="13"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14"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9</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診察後の流れ</a:t>
            </a:r>
            <a:endParaRPr kumimoji="0" lang="ja-JP" altLang="en-US" sz="3200" b="0" kern="0" dirty="0"/>
          </a:p>
        </p:txBody>
      </p:sp>
      <p:pic>
        <p:nvPicPr>
          <p:cNvPr id="15" name="Google Shape;877;p24" descr="診察詳細画面で確認できる「申込内容」と「お支払い」の項目が示されている画面の画像"/>
          <p:cNvPicPr preferRelativeResize="0">
            <a:picLocks noChangeAspect="1"/>
          </p:cNvPicPr>
          <p:nvPr/>
        </p:nvPicPr>
        <p:blipFill>
          <a:blip r:embed="rId7">
            <a:alphaModFix/>
          </a:blip>
          <a:stretch>
            <a:fillRect/>
          </a:stretch>
        </p:blipFill>
        <p:spPr>
          <a:xfrm>
            <a:off x="615823" y="1987550"/>
            <a:ext cx="1917059"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16" name="Google Shape;879;p24"/>
          <p:cNvSpPr txBox="1"/>
          <p:nvPr/>
        </p:nvSpPr>
        <p:spPr>
          <a:xfrm>
            <a:off x="2704637" y="1953476"/>
            <a:ext cx="1800000" cy="3338021"/>
          </a:xfrm>
          <a:prstGeom prst="rect">
            <a:avLst/>
          </a:prstGeom>
          <a:noFill/>
          <a:ln>
            <a:noFill/>
          </a:ln>
        </p:spPr>
        <p:txBody>
          <a:bodyPr spcFirstLastPara="1" wrap="square" lIns="0" tIns="10850" rIns="0" bIns="0" anchor="t" anchorCtr="0">
            <a:spAutoFit/>
          </a:bodyPr>
          <a:lstStyle/>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ビデオ診察が</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終わったら、</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登録してある</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クレジット</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カードにて</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診察代金等の</a:t>
            </a:r>
            <a:endParaRPr lang="en-US" altLang="ja-JP" sz="1600" b="1" dirty="0">
              <a:solidFill>
                <a:schemeClr val="dk1"/>
              </a:solidFill>
              <a:latin typeface="Meiryo" charset="-128"/>
              <a:ea typeface="Meiryo"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決済が行われます。</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診察内容と</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決済内容は、</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アプリから</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確認できます。</a:t>
            </a:r>
            <a:endParaRPr sz="1600" b="1" u="none" strike="noStrike" cap="none" dirty="0">
              <a:solidFill>
                <a:schemeClr val="dk1"/>
              </a:solidFill>
              <a:latin typeface="Meiryo" charset="-128"/>
              <a:ea typeface="Meiryo" charset="-128"/>
              <a:cs typeface="Meiryo" charset="-128"/>
              <a:sym typeface="Meiryo"/>
            </a:endParaRPr>
          </a:p>
        </p:txBody>
      </p:sp>
      <p:sp>
        <p:nvSpPr>
          <p:cNvPr id="17" name="Google Shape;880;p24"/>
          <p:cNvSpPr txBox="1"/>
          <p:nvPr/>
        </p:nvSpPr>
        <p:spPr>
          <a:xfrm>
            <a:off x="4921493" y="1943009"/>
            <a:ext cx="3852000" cy="4295206"/>
          </a:xfrm>
          <a:prstGeom prst="rect">
            <a:avLst/>
          </a:prstGeom>
          <a:noFill/>
          <a:ln>
            <a:noFill/>
          </a:ln>
        </p:spPr>
        <p:txBody>
          <a:bodyPr spcFirstLastPara="1" wrap="square" lIns="0" tIns="10850" rIns="0" bIns="0" anchor="t" anchorCtr="0">
            <a:spAutoFit/>
          </a:bodyPr>
          <a:lstStyle/>
          <a:p>
            <a:pPr marL="10860" marR="4344" lvl="0" indent="0" algn="just" rtl="0">
              <a:lnSpc>
                <a:spcPct val="120000"/>
              </a:lnSpc>
              <a:spcBef>
                <a:spcPts val="0"/>
              </a:spcBef>
              <a:spcAft>
                <a:spcPts val="0"/>
              </a:spcAft>
              <a:buNone/>
            </a:pPr>
            <a:r>
              <a:rPr lang="ja-JP" altLang="en-US" sz="1600" b="1" dirty="0">
                <a:solidFill>
                  <a:srgbClr val="009650"/>
                </a:solidFill>
                <a:latin typeface="Meiryo" charset="-128"/>
                <a:ea typeface="Meiryo" charset="-128"/>
                <a:cs typeface="Meiryo" charset="-128"/>
                <a:sym typeface="Meiryo"/>
              </a:rPr>
              <a:t>❶</a:t>
            </a:r>
            <a:r>
              <a:rPr lang="en-US" altLang="ja-JP" sz="1600" b="1" dirty="0">
                <a:solidFill>
                  <a:srgbClr val="009650"/>
                </a:solidFill>
                <a:latin typeface="Meiryo" charset="-128"/>
                <a:ea typeface="Meiryo" charset="-128"/>
                <a:cs typeface="Meiryo" charset="-128"/>
                <a:sym typeface="Meiryo"/>
              </a:rPr>
              <a:t> </a:t>
            </a:r>
            <a:r>
              <a:rPr lang="ja-JP" sz="1600" b="1" dirty="0">
                <a:solidFill>
                  <a:srgbClr val="009650"/>
                </a:solidFill>
                <a:latin typeface="Meiryo" charset="-128"/>
                <a:ea typeface="Meiryo" charset="-128"/>
                <a:cs typeface="Meiryo" charset="-128"/>
                <a:sym typeface="Meiryo"/>
              </a:rPr>
              <a:t>お薬・処方箋がご自宅に届く場合</a:t>
            </a:r>
            <a:endParaRPr sz="1600" b="1" dirty="0">
              <a:solidFill>
                <a:srgbClr val="009650"/>
              </a:solidFill>
              <a:latin typeface="Meiryo" charset="-128"/>
              <a:ea typeface="Meiryo"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Meiryo" charset="-128"/>
                <a:ea typeface="Meiryo" charset="-128"/>
                <a:cs typeface="Meiryo" charset="-128"/>
                <a:sym typeface="Meiryo"/>
              </a:rPr>
              <a:t>お薬・処方箋は登録している住所に</a:t>
            </a:r>
            <a:endParaRPr lang="en-US" altLang="ja-JP" sz="1600" b="1" dirty="0">
              <a:solidFill>
                <a:schemeClr val="dk1"/>
              </a:solidFill>
              <a:latin typeface="Meiryo" charset="-128"/>
              <a:ea typeface="Meiryo"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Meiryo" charset="-128"/>
                <a:ea typeface="Meiryo" charset="-128"/>
                <a:cs typeface="Meiryo" charset="-128"/>
                <a:sym typeface="Meiryo"/>
              </a:rPr>
              <a:t>配送されます</a:t>
            </a:r>
            <a:r>
              <a:rPr lang="ja-JP" sz="1600" b="1" spc="-300" dirty="0">
                <a:solidFill>
                  <a:schemeClr val="dk1"/>
                </a:solidFill>
                <a:latin typeface="Meiryo" charset="-128"/>
                <a:ea typeface="Meiryo" charset="-128"/>
                <a:cs typeface="Meiryo" charset="-128"/>
                <a:sym typeface="Meiryo"/>
              </a:rPr>
              <a:t>。</a:t>
            </a:r>
            <a:r>
              <a:rPr lang="ja-JP" sz="1600" b="1" dirty="0">
                <a:solidFill>
                  <a:schemeClr val="dk1"/>
                </a:solidFill>
                <a:latin typeface="Meiryo" charset="-128"/>
                <a:ea typeface="Meiryo" charset="-128"/>
                <a:cs typeface="Meiryo" charset="-128"/>
                <a:sym typeface="Meiryo"/>
              </a:rPr>
              <a:t>処方箋は薬局に</a:t>
            </a:r>
            <a:endParaRPr lang="en-US" altLang="ja-JP" sz="1600" b="1" dirty="0">
              <a:solidFill>
                <a:schemeClr val="dk1"/>
              </a:solidFill>
              <a:latin typeface="Meiryo" charset="-128"/>
              <a:ea typeface="Meiryo"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Meiryo" charset="-128"/>
                <a:ea typeface="Meiryo" charset="-128"/>
                <a:cs typeface="Meiryo" charset="-128"/>
                <a:sym typeface="Meiryo"/>
              </a:rPr>
              <a:t>持参しましょう</a:t>
            </a:r>
            <a:r>
              <a:rPr lang="ja-JP" sz="1600" b="1" spc="-300" dirty="0">
                <a:solidFill>
                  <a:schemeClr val="dk1"/>
                </a:solidFill>
                <a:latin typeface="Meiryo" charset="-128"/>
                <a:ea typeface="Meiryo" charset="-128"/>
                <a:cs typeface="Meiryo" charset="-128"/>
                <a:sym typeface="Meiryo"/>
              </a:rPr>
              <a:t>。</a:t>
            </a:r>
            <a:r>
              <a:rPr lang="ja-JP" sz="1600" b="1" dirty="0">
                <a:solidFill>
                  <a:schemeClr val="dk1"/>
                </a:solidFill>
                <a:latin typeface="Meiryo" charset="-128"/>
                <a:ea typeface="Meiryo" charset="-128"/>
                <a:cs typeface="Meiryo" charset="-128"/>
                <a:sym typeface="Meiryo"/>
              </a:rPr>
              <a:t>その際</a:t>
            </a:r>
            <a:r>
              <a:rPr lang="ja-JP" sz="1600" b="1" spc="-300" dirty="0">
                <a:solidFill>
                  <a:schemeClr val="dk1"/>
                </a:solidFill>
                <a:latin typeface="Meiryo" charset="-128"/>
                <a:ea typeface="Meiryo" charset="-128"/>
                <a:cs typeface="Meiryo" charset="-128"/>
                <a:sym typeface="Meiryo"/>
              </a:rPr>
              <a:t>、</a:t>
            </a:r>
            <a:r>
              <a:rPr lang="ja-JP" sz="1600" b="1" dirty="0">
                <a:solidFill>
                  <a:schemeClr val="dk1"/>
                </a:solidFill>
                <a:latin typeface="Meiryo" charset="-128"/>
                <a:ea typeface="Meiryo" charset="-128"/>
                <a:cs typeface="Meiryo" charset="-128"/>
                <a:sym typeface="Meiryo"/>
              </a:rPr>
              <a:t>処方箋の</a:t>
            </a:r>
            <a:endParaRPr lang="en-US" altLang="ja-JP" sz="1600" b="1" dirty="0">
              <a:solidFill>
                <a:schemeClr val="dk1"/>
              </a:solidFill>
              <a:latin typeface="Meiryo" charset="-128"/>
              <a:ea typeface="Meiryo"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Meiryo" charset="-128"/>
                <a:ea typeface="Meiryo" charset="-128"/>
                <a:cs typeface="Meiryo" charset="-128"/>
                <a:sym typeface="Meiryo"/>
              </a:rPr>
              <a:t>有効期間にご注意ください。</a:t>
            </a:r>
            <a:endParaRPr sz="1600" b="1" dirty="0">
              <a:solidFill>
                <a:schemeClr val="dk1"/>
              </a:solidFill>
              <a:latin typeface="Meiryo" charset="-128"/>
              <a:ea typeface="Meiryo" charset="-128"/>
              <a:cs typeface="Meiryo" charset="-128"/>
              <a:sym typeface="Meiryo"/>
            </a:endParaRPr>
          </a:p>
          <a:p>
            <a:pPr marL="10860" marR="4344" lvl="0" indent="0" algn="just" rtl="0">
              <a:lnSpc>
                <a:spcPct val="120000"/>
              </a:lnSpc>
              <a:spcBef>
                <a:spcPts val="0"/>
              </a:spcBef>
              <a:spcAft>
                <a:spcPts val="0"/>
              </a:spcAft>
              <a:buNone/>
            </a:pPr>
            <a:r>
              <a:rPr lang="ja-JP" sz="1200" b="1" dirty="0">
                <a:solidFill>
                  <a:srgbClr val="313541"/>
                </a:solidFill>
                <a:latin typeface="Meiryo" charset="-128"/>
                <a:ea typeface="Meiryo" charset="-128"/>
                <a:cs typeface="Meiryo" charset="-128"/>
              </a:rPr>
              <a:t>医療機関がクロンの配送補助サービスを</a:t>
            </a:r>
            <a:endParaRPr lang="en-US" altLang="ja-JP" sz="1200" b="1" dirty="0">
              <a:solidFill>
                <a:srgbClr val="313541"/>
              </a:solidFill>
              <a:latin typeface="Meiryo" charset="-128"/>
              <a:ea typeface="Meiryo" charset="-128"/>
              <a:cs typeface="Meiryo" charset="-128"/>
            </a:endParaRPr>
          </a:p>
          <a:p>
            <a:pPr marL="10860" marR="4344" lvl="0" indent="0" algn="just" rtl="0">
              <a:lnSpc>
                <a:spcPct val="120000"/>
              </a:lnSpc>
              <a:spcBef>
                <a:spcPts val="0"/>
              </a:spcBef>
              <a:spcAft>
                <a:spcPts val="0"/>
              </a:spcAft>
              <a:buNone/>
            </a:pPr>
            <a:r>
              <a:rPr lang="ja-JP" sz="1200" b="1" dirty="0">
                <a:solidFill>
                  <a:srgbClr val="313541"/>
                </a:solidFill>
                <a:latin typeface="Meiryo" charset="-128"/>
                <a:ea typeface="Meiryo" charset="-128"/>
                <a:cs typeface="Meiryo" charset="-128"/>
              </a:rPr>
              <a:t>利用する場合は</a:t>
            </a:r>
            <a:r>
              <a:rPr lang="ja-JP" sz="1200" b="1" spc="-300" dirty="0">
                <a:solidFill>
                  <a:srgbClr val="313541"/>
                </a:solidFill>
                <a:latin typeface="Meiryo" charset="-128"/>
                <a:ea typeface="Meiryo" charset="-128"/>
                <a:cs typeface="Meiryo" charset="-128"/>
              </a:rPr>
              <a:t>、</a:t>
            </a:r>
            <a:r>
              <a:rPr lang="ja-JP" sz="1200" b="1" dirty="0">
                <a:solidFill>
                  <a:srgbClr val="313541"/>
                </a:solidFill>
                <a:latin typeface="Meiryo" charset="-128"/>
                <a:ea typeface="Meiryo" charset="-128"/>
                <a:cs typeface="Meiryo" charset="-128"/>
              </a:rPr>
              <a:t>追跡番号などが表示されます。</a:t>
            </a:r>
            <a:endParaRPr sz="1200" b="1" dirty="0">
              <a:solidFill>
                <a:schemeClr val="dk1"/>
              </a:solidFill>
              <a:latin typeface="Meiryo" charset="-128"/>
              <a:ea typeface="Meiryo" charset="-128"/>
              <a:cs typeface="Meiryo" charset="-128"/>
              <a:sym typeface="Meiryo"/>
            </a:endParaRPr>
          </a:p>
          <a:p>
            <a:pPr marL="10860" marR="4344" lvl="0" indent="0" algn="just" rtl="0">
              <a:lnSpc>
                <a:spcPct val="120000"/>
              </a:lnSpc>
              <a:spcBef>
                <a:spcPts val="0"/>
              </a:spcBef>
              <a:spcAft>
                <a:spcPts val="0"/>
              </a:spcAft>
              <a:buNone/>
            </a:pPr>
            <a:endParaRPr sz="1600" b="1" dirty="0">
              <a:solidFill>
                <a:schemeClr val="dk1"/>
              </a:solidFill>
              <a:latin typeface="Meiryo" charset="-128"/>
              <a:ea typeface="Meiryo" charset="-128"/>
              <a:cs typeface="Meiryo" charset="-128"/>
              <a:sym typeface="Meiryo"/>
            </a:endParaRPr>
          </a:p>
          <a:p>
            <a:pPr marL="10859" marR="4343" lvl="0" indent="0" algn="just" rtl="0">
              <a:lnSpc>
                <a:spcPct val="120000"/>
              </a:lnSpc>
              <a:spcBef>
                <a:spcPts val="0"/>
              </a:spcBef>
              <a:spcAft>
                <a:spcPts val="0"/>
              </a:spcAft>
              <a:buNone/>
            </a:pPr>
            <a:r>
              <a:rPr lang="ja-JP" altLang="en-US" sz="1600" b="1" dirty="0">
                <a:solidFill>
                  <a:srgbClr val="009650"/>
                </a:solidFill>
                <a:latin typeface="Meiryo" charset="-128"/>
                <a:ea typeface="Meiryo" charset="-128"/>
                <a:cs typeface="Meiryo" charset="-128"/>
                <a:sym typeface="Meiryo"/>
              </a:rPr>
              <a:t>❷</a:t>
            </a:r>
            <a:r>
              <a:rPr lang="en-US" altLang="ja-JP" sz="1600" b="1" dirty="0">
                <a:solidFill>
                  <a:srgbClr val="009650"/>
                </a:solidFill>
                <a:latin typeface="Meiryo" charset="-128"/>
                <a:ea typeface="Meiryo" charset="-128"/>
                <a:cs typeface="Meiryo" charset="-128"/>
                <a:sym typeface="Meiryo"/>
              </a:rPr>
              <a:t> </a:t>
            </a:r>
            <a:r>
              <a:rPr lang="ja-JP" sz="1600" b="1" dirty="0">
                <a:solidFill>
                  <a:srgbClr val="009650"/>
                </a:solidFill>
                <a:latin typeface="Meiryo" charset="-128"/>
                <a:ea typeface="Meiryo" charset="-128"/>
                <a:cs typeface="Meiryo" charset="-128"/>
                <a:sym typeface="Meiryo"/>
              </a:rPr>
              <a:t>処方箋が薬局に送られる場合</a:t>
            </a:r>
            <a:endParaRPr sz="1600" b="1" dirty="0">
              <a:solidFill>
                <a:srgbClr val="009650"/>
              </a:solidFill>
              <a:latin typeface="Meiryo" charset="-128"/>
              <a:ea typeface="Meiryo"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rgbClr val="313541"/>
                </a:solidFill>
                <a:latin typeface="Meiryo" charset="-128"/>
                <a:ea typeface="Meiryo" charset="-128"/>
                <a:cs typeface="Meiryo" charset="-128"/>
              </a:rPr>
              <a:t>医療機関から処方箋が送られた</a:t>
            </a:r>
            <a:endParaRPr lang="en-US" altLang="ja-JP" sz="1600" b="1" dirty="0">
              <a:solidFill>
                <a:srgbClr val="313541"/>
              </a:solidFill>
              <a:latin typeface="Meiryo" charset="-128"/>
              <a:ea typeface="Meiryo" charset="-128"/>
              <a:cs typeface="Meiryo" charset="-128"/>
            </a:endParaRPr>
          </a:p>
          <a:p>
            <a:pPr marL="10859" marR="4343" lvl="0" indent="0" algn="just" rtl="0">
              <a:lnSpc>
                <a:spcPct val="120000"/>
              </a:lnSpc>
              <a:spcBef>
                <a:spcPts val="0"/>
              </a:spcBef>
              <a:spcAft>
                <a:spcPts val="0"/>
              </a:spcAft>
              <a:buNone/>
            </a:pPr>
            <a:r>
              <a:rPr lang="ja-JP" sz="1600" b="1" dirty="0">
                <a:solidFill>
                  <a:srgbClr val="313541"/>
                </a:solidFill>
                <a:latin typeface="Meiryo" charset="-128"/>
                <a:ea typeface="Meiryo" charset="-128"/>
                <a:cs typeface="Meiryo" charset="-128"/>
              </a:rPr>
              <a:t>薬局情報が表示されます。</a:t>
            </a:r>
            <a:endParaRPr sz="1600" b="1" dirty="0">
              <a:solidFill>
                <a:srgbClr val="313541"/>
              </a:solidFill>
              <a:latin typeface="Meiryo" charset="-128"/>
              <a:ea typeface="Meiryo" charset="-128"/>
              <a:cs typeface="Meiryo" charset="-128"/>
            </a:endParaRPr>
          </a:p>
          <a:p>
            <a:pPr marL="10860" marR="4344" lvl="0" indent="0" algn="just" rtl="0">
              <a:lnSpc>
                <a:spcPct val="120000"/>
              </a:lnSpc>
              <a:spcBef>
                <a:spcPts val="0"/>
              </a:spcBef>
              <a:spcAft>
                <a:spcPts val="0"/>
              </a:spcAft>
              <a:buNone/>
            </a:pPr>
            <a:r>
              <a:rPr lang="ja-JP" sz="1600" b="1" dirty="0">
                <a:solidFill>
                  <a:srgbClr val="313541"/>
                </a:solidFill>
                <a:latin typeface="Meiryo" charset="-128"/>
                <a:ea typeface="Meiryo" charset="-128"/>
                <a:cs typeface="Meiryo" charset="-128"/>
              </a:rPr>
              <a:t>オン</a:t>
            </a:r>
            <a:r>
              <a:rPr lang="ja-JP" altLang="en-US" sz="1600" b="1" dirty="0">
                <a:solidFill>
                  <a:srgbClr val="313541"/>
                </a:solidFill>
                <a:latin typeface="Meiryo" charset="-128"/>
                <a:ea typeface="Meiryo" charset="-128"/>
                <a:cs typeface="Meiryo" charset="-128"/>
              </a:rPr>
              <a:t>ラ</a:t>
            </a:r>
            <a:r>
              <a:rPr lang="ja-JP" sz="1600" b="1" dirty="0">
                <a:solidFill>
                  <a:srgbClr val="313541"/>
                </a:solidFill>
                <a:latin typeface="Meiryo" charset="-128"/>
                <a:ea typeface="Meiryo" charset="-128"/>
                <a:cs typeface="Meiryo" charset="-128"/>
              </a:rPr>
              <a:t>イン服薬指導が可能な</a:t>
            </a:r>
            <a:endParaRPr lang="en-US" altLang="ja-JP" sz="1600" b="1" dirty="0">
              <a:solidFill>
                <a:srgbClr val="313541"/>
              </a:solidFill>
              <a:latin typeface="Meiryo" charset="-128"/>
              <a:ea typeface="Meiryo" charset="-128"/>
              <a:cs typeface="Meiryo" charset="-128"/>
            </a:endParaRPr>
          </a:p>
          <a:p>
            <a:pPr marL="10860" marR="4344" lvl="0" indent="0" algn="just" rtl="0">
              <a:lnSpc>
                <a:spcPct val="120000"/>
              </a:lnSpc>
              <a:spcBef>
                <a:spcPts val="0"/>
              </a:spcBef>
              <a:spcAft>
                <a:spcPts val="0"/>
              </a:spcAft>
              <a:buNone/>
            </a:pPr>
            <a:r>
              <a:rPr lang="ja-JP" sz="1600" b="1" dirty="0">
                <a:solidFill>
                  <a:srgbClr val="313541"/>
                </a:solidFill>
                <a:latin typeface="Meiryo" charset="-128"/>
                <a:ea typeface="Meiryo" charset="-128"/>
                <a:cs typeface="Meiryo" charset="-128"/>
              </a:rPr>
              <a:t>薬局の場合</a:t>
            </a:r>
            <a:r>
              <a:rPr lang="ja-JP" sz="1600" b="1">
                <a:solidFill>
                  <a:srgbClr val="313541"/>
                </a:solidFill>
                <a:latin typeface="Meiryo" charset="-128"/>
                <a:ea typeface="Meiryo" charset="-128"/>
                <a:cs typeface="Meiryo" charset="-128"/>
              </a:rPr>
              <a:t>は</a:t>
            </a:r>
            <a:r>
              <a:rPr lang="ja-JP" sz="1600" b="1" spc="-300">
                <a:solidFill>
                  <a:srgbClr val="313541"/>
                </a:solidFill>
                <a:latin typeface="Meiryo" charset="-128"/>
                <a:ea typeface="Meiryo" charset="-128"/>
                <a:cs typeface="Meiryo" charset="-128"/>
              </a:rPr>
              <a:t>、</a:t>
            </a:r>
            <a:r>
              <a:rPr lang="en-US" altLang="ja-JP" sz="1600" b="1">
                <a:solidFill>
                  <a:srgbClr val="313541"/>
                </a:solidFill>
                <a:latin typeface="Meiryo" charset="-128"/>
                <a:ea typeface="Meiryo" charset="-128"/>
                <a:cs typeface="Meiryo" charset="-128"/>
              </a:rPr>
              <a:t>｢</a:t>
            </a:r>
            <a:r>
              <a:rPr lang="ja-JP" sz="1600" b="1">
                <a:solidFill>
                  <a:srgbClr val="313541"/>
                </a:solidFill>
                <a:latin typeface="Meiryo" charset="-128"/>
                <a:ea typeface="Meiryo" charset="-128"/>
                <a:cs typeface="Meiryo" charset="-128"/>
              </a:rPr>
              <a:t>服薬</a:t>
            </a:r>
            <a:r>
              <a:rPr lang="ja-JP" sz="1600" b="1" dirty="0">
                <a:solidFill>
                  <a:srgbClr val="313541"/>
                </a:solidFill>
                <a:latin typeface="Meiryo" charset="-128"/>
                <a:ea typeface="Meiryo" charset="-128"/>
                <a:cs typeface="Meiryo" charset="-128"/>
              </a:rPr>
              <a:t>指導を申し込む</a:t>
            </a:r>
            <a:r>
              <a:rPr lang="en-US" altLang="ja-JP" sz="1600" b="1" dirty="0">
                <a:solidFill>
                  <a:srgbClr val="313541"/>
                </a:solidFill>
                <a:latin typeface="Meiryo" charset="-128"/>
                <a:ea typeface="Meiryo" charset="-128"/>
                <a:cs typeface="Meiryo" charset="-128"/>
              </a:rPr>
              <a:t>｣</a:t>
            </a:r>
            <a:r>
              <a:rPr lang="ja-JP" sz="1600" b="1" dirty="0">
                <a:solidFill>
                  <a:srgbClr val="313541"/>
                </a:solidFill>
                <a:latin typeface="Meiryo" charset="-128"/>
                <a:ea typeface="Meiryo" charset="-128"/>
                <a:cs typeface="Meiryo" charset="-128"/>
              </a:rPr>
              <a:t>を</a:t>
            </a:r>
            <a:endParaRPr lang="en-US" altLang="ja-JP" sz="1600" b="1" dirty="0">
              <a:solidFill>
                <a:srgbClr val="313541"/>
              </a:solidFill>
              <a:latin typeface="Meiryo" charset="-128"/>
              <a:ea typeface="Meiryo" charset="-128"/>
              <a:cs typeface="Meiryo" charset="-128"/>
            </a:endParaRPr>
          </a:p>
          <a:p>
            <a:pPr marL="10860" marR="4344" lvl="0" indent="0" algn="just" rtl="0">
              <a:lnSpc>
                <a:spcPct val="120000"/>
              </a:lnSpc>
              <a:spcBef>
                <a:spcPts val="0"/>
              </a:spcBef>
              <a:spcAft>
                <a:spcPts val="0"/>
              </a:spcAft>
              <a:buNone/>
            </a:pPr>
            <a:r>
              <a:rPr lang="ja-JP" sz="1600" b="1" dirty="0">
                <a:solidFill>
                  <a:srgbClr val="313541"/>
                </a:solidFill>
                <a:latin typeface="Meiryo" charset="-128"/>
                <a:ea typeface="Meiryo" charset="-128"/>
                <a:cs typeface="Meiryo" charset="-128"/>
              </a:rPr>
              <a:t>タップし</a:t>
            </a:r>
            <a:r>
              <a:rPr lang="ja-JP" sz="1600" b="1" spc="-300" dirty="0">
                <a:solidFill>
                  <a:srgbClr val="313541"/>
                </a:solidFill>
                <a:latin typeface="Meiryo" charset="-128"/>
                <a:ea typeface="Meiryo" charset="-128"/>
                <a:cs typeface="Meiryo" charset="-128"/>
              </a:rPr>
              <a:t>、</a:t>
            </a:r>
            <a:r>
              <a:rPr lang="ja-JP" sz="1600" b="1" dirty="0">
                <a:solidFill>
                  <a:srgbClr val="313541"/>
                </a:solidFill>
                <a:latin typeface="Meiryo" charset="-128"/>
                <a:ea typeface="Meiryo" charset="-128"/>
                <a:cs typeface="Meiryo" charset="-128"/>
              </a:rPr>
              <a:t>お手続きを行います。</a:t>
            </a:r>
            <a:endParaRPr sz="1600" b="1" dirty="0">
              <a:solidFill>
                <a:srgbClr val="313541"/>
              </a:solidFill>
              <a:latin typeface="Meiryo" charset="-128"/>
              <a:ea typeface="Meiryo" charset="-128"/>
              <a:cs typeface="Meiryo" charset="-128"/>
            </a:endParaRPr>
          </a:p>
          <a:p>
            <a:pPr marL="0" marR="4344" lvl="0" indent="0" algn="just" rtl="0">
              <a:lnSpc>
                <a:spcPct val="120000"/>
              </a:lnSpc>
              <a:spcBef>
                <a:spcPts val="0"/>
              </a:spcBef>
              <a:spcAft>
                <a:spcPts val="0"/>
              </a:spcAft>
              <a:buNone/>
            </a:pPr>
            <a:endParaRPr sz="1600" b="1" dirty="0">
              <a:solidFill>
                <a:schemeClr val="dk1"/>
              </a:solidFill>
              <a:latin typeface="Meiryo" charset="-128"/>
              <a:ea typeface="Meiryo" charset="-128"/>
              <a:cs typeface="Meiryo" charset="-128"/>
              <a:sym typeface="Meiryo"/>
            </a:endParaRPr>
          </a:p>
        </p:txBody>
      </p:sp>
      <p:sp>
        <p:nvSpPr>
          <p:cNvPr id="18" name="Google Shape;881;p24"/>
          <p:cNvSpPr txBox="1"/>
          <p:nvPr/>
        </p:nvSpPr>
        <p:spPr>
          <a:xfrm>
            <a:off x="513648" y="1399805"/>
            <a:ext cx="2520000" cy="64633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ja-JP" sz="1800" b="1" i="0" u="none" strike="noStrike" cap="none">
                <a:solidFill>
                  <a:schemeClr val="dk1"/>
                </a:solidFill>
                <a:latin typeface="Meiryo"/>
                <a:ea typeface="Meiryo"/>
                <a:cs typeface="Meiryo"/>
                <a:sym typeface="Meiryo"/>
              </a:rPr>
              <a:t>診察・決済内容の確認</a:t>
            </a:r>
            <a:endParaRPr sz="1800" b="1" i="0" u="none" strike="noStrike" cap="none">
              <a:solidFill>
                <a:schemeClr val="dk1"/>
              </a:solidFill>
              <a:latin typeface="Meiryo"/>
              <a:ea typeface="Meiryo"/>
              <a:cs typeface="Meiryo"/>
              <a:sym typeface="Meiryo"/>
            </a:endParaRPr>
          </a:p>
        </p:txBody>
      </p:sp>
      <p:sp>
        <p:nvSpPr>
          <p:cNvPr id="19" name="Google Shape;882;p24"/>
          <p:cNvSpPr txBox="1"/>
          <p:nvPr/>
        </p:nvSpPr>
        <p:spPr>
          <a:xfrm>
            <a:off x="4921494" y="1420820"/>
            <a:ext cx="2520000" cy="2880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800"/>
              <a:buFont typeface="Arial"/>
              <a:buNone/>
            </a:pPr>
            <a:r>
              <a:rPr lang="ja-JP" sz="1800" b="1" i="0" u="none" strike="noStrike" cap="none">
                <a:solidFill>
                  <a:schemeClr val="dk1"/>
                </a:solidFill>
                <a:latin typeface="Meiryo"/>
                <a:ea typeface="Meiryo"/>
                <a:cs typeface="Meiryo"/>
                <a:sym typeface="Meiryo"/>
              </a:rPr>
              <a:t>お薬の有る場合</a:t>
            </a:r>
            <a:endParaRPr sz="1800" b="1" i="0" u="none" strike="noStrike" cap="none">
              <a:solidFill>
                <a:schemeClr val="dk1"/>
              </a:solidFill>
              <a:latin typeface="Meiryo"/>
              <a:ea typeface="Meiryo"/>
              <a:cs typeface="Meiryo"/>
              <a:sym typeface="Meiryo"/>
            </a:endParaRPr>
          </a:p>
        </p:txBody>
      </p:sp>
      <p:sp>
        <p:nvSpPr>
          <p:cNvPr id="20" name="Google Shape;883;p24"/>
          <p:cNvSpPr/>
          <p:nvPr/>
        </p:nvSpPr>
        <p:spPr>
          <a:xfrm>
            <a:off x="641556" y="4150375"/>
            <a:ext cx="1857300" cy="316800"/>
          </a:xfrm>
          <a:prstGeom prst="rect">
            <a:avLst/>
          </a:prstGeom>
          <a:noFill/>
          <a:ln w="28575"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1" name="Google Shape;886;p24"/>
          <p:cNvSpPr/>
          <p:nvPr/>
        </p:nvSpPr>
        <p:spPr>
          <a:xfrm>
            <a:off x="641556" y="4883800"/>
            <a:ext cx="1857300" cy="316800"/>
          </a:xfrm>
          <a:prstGeom prst="rect">
            <a:avLst/>
          </a:prstGeom>
          <a:noFill/>
          <a:ln w="28575"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42"/>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A13516E1-56C7-45C3-ACE4-78D1F66EA1A3}"/>
              </a:ext>
            </a:extLst>
          </p:cNvPr>
          <p:cNvGraphicFramePr>
            <a:graphicFrameLocks noChangeAspect="1"/>
          </p:cNvGraphicFramePr>
          <p:nvPr>
            <p:custDataLst>
              <p:tags r:id="rId2"/>
            </p:custDataLst>
            <p:extLst>
              <p:ext uri="{D42A27DB-BD31-4B8C-83A1-F6EECF244321}">
                <p14:modId xmlns:p14="http://schemas.microsoft.com/office/powerpoint/2010/main" val="147575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7"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8" name="Google Shape;158;g1445ac9894b_0_105"/>
          <p:cNvSpPr txBox="1"/>
          <p:nvPr/>
        </p:nvSpPr>
        <p:spPr>
          <a:xfrm>
            <a:off x="2844750" y="1535586"/>
            <a:ext cx="1974000" cy="400200"/>
          </a:xfrm>
          <a:prstGeom prst="rect">
            <a:avLst/>
          </a:prstGeom>
          <a:noFill/>
          <a:ln>
            <a:noFill/>
          </a:ln>
        </p:spPr>
        <p:txBody>
          <a:bodyPr spcFirstLastPara="1" wrap="square" lIns="91425" tIns="91425" rIns="91425" bIns="91425" anchor="t" anchorCtr="0">
            <a:spAutoFit/>
          </a:bodyPr>
          <a:lstStyle/>
          <a:p>
            <a:pPr marL="10859" lvl="0" indent="0" algn="l" rtl="0">
              <a:spcBef>
                <a:spcPts val="0"/>
              </a:spcBef>
              <a:spcAft>
                <a:spcPts val="0"/>
              </a:spcAft>
              <a:buNone/>
            </a:pPr>
            <a:r>
              <a:rPr lang="ja-JP" b="1">
                <a:solidFill>
                  <a:srgbClr val="009650"/>
                </a:solidFill>
                <a:latin typeface="Meiryo"/>
                <a:ea typeface="Meiryo"/>
                <a:cs typeface="Meiryo"/>
                <a:sym typeface="Meiryo"/>
              </a:rPr>
              <a:t>記載の認証番号を入力</a:t>
            </a:r>
            <a:endParaRPr/>
          </a:p>
        </p:txBody>
      </p:sp>
      <p:pic>
        <p:nvPicPr>
          <p:cNvPr id="159" name="Google Shape;159;g1445ac9894b_0_105" descr="認証番号入力画面で認証番号を入力している画像"/>
          <p:cNvPicPr preferRelativeResize="0">
            <a:picLocks noChangeAspect="1"/>
          </p:cNvPicPr>
          <p:nvPr/>
        </p:nvPicPr>
        <p:blipFill>
          <a:blip r:embed="rId7">
            <a:alphaModFix/>
          </a:blip>
          <a:stretch>
            <a:fillRect/>
          </a:stretch>
        </p:blipFill>
        <p:spPr>
          <a:xfrm>
            <a:off x="2952751" y="1991630"/>
            <a:ext cx="1911953" cy="4140000"/>
          </a:xfrm>
          <a:prstGeom prst="rect">
            <a:avLst/>
          </a:prstGeom>
          <a:noFill/>
          <a:ln w="9525">
            <a:solidFill>
              <a:schemeClr val="tx1">
                <a:lumMod val="50000"/>
                <a:lumOff val="50000"/>
              </a:schemeClr>
            </a:solidFill>
          </a:ln>
        </p:spPr>
      </p:pic>
      <p:pic>
        <p:nvPicPr>
          <p:cNvPr id="160" name="Google Shape;160;g1445ac9894b_0_105" descr="認証番号入力画面の「確認する」ボタンをタップしている画像"/>
          <p:cNvPicPr preferRelativeResize="0">
            <a:picLocks noChangeAspect="1"/>
          </p:cNvPicPr>
          <p:nvPr/>
        </p:nvPicPr>
        <p:blipFill>
          <a:blip r:embed="rId7">
            <a:alphaModFix/>
          </a:blip>
          <a:stretch>
            <a:fillRect/>
          </a:stretch>
        </p:blipFill>
        <p:spPr>
          <a:xfrm>
            <a:off x="6195730" y="1991630"/>
            <a:ext cx="1911953" cy="4140000"/>
          </a:xfrm>
          <a:prstGeom prst="rect">
            <a:avLst/>
          </a:prstGeom>
          <a:noFill/>
          <a:ln w="9525">
            <a:solidFill>
              <a:schemeClr val="tx1">
                <a:lumMod val="50000"/>
                <a:lumOff val="50000"/>
              </a:schemeClr>
            </a:solidFill>
          </a:ln>
        </p:spPr>
      </p:pic>
      <p:sp>
        <p:nvSpPr>
          <p:cNvPr id="161" name="Google Shape;161;g1445ac9894b_0_105"/>
          <p:cNvSpPr/>
          <p:nvPr/>
        </p:nvSpPr>
        <p:spPr>
          <a:xfrm>
            <a:off x="2937252" y="2940516"/>
            <a:ext cx="1944000" cy="50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162" name="Google Shape;162;g1445ac9894b_0_105"/>
          <p:cNvSpPr/>
          <p:nvPr/>
        </p:nvSpPr>
        <p:spPr>
          <a:xfrm>
            <a:off x="6183501" y="3379532"/>
            <a:ext cx="1944000" cy="36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7"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2</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curonに新規登</a:t>
            </a:r>
            <a:r>
              <a:rPr lang="ja-JP" altLang="ja-JP" sz="3200" spc="-1250" dirty="0">
                <a:latin typeface="Meiryo"/>
                <a:ea typeface="Meiryo"/>
                <a:cs typeface="Meiryo"/>
                <a:sym typeface="Meiryo"/>
              </a:rPr>
              <a:t>録</a:t>
            </a:r>
            <a:r>
              <a:rPr lang="ja-JP" altLang="en-US" sz="3200" b="0" dirty="0">
                <a:sym typeface="Meiryo"/>
              </a:rPr>
              <a:t>［</a:t>
            </a:r>
            <a:r>
              <a:rPr lang="en-US" altLang="ja-JP" sz="3200" dirty="0">
                <a:latin typeface="Meiryo"/>
                <a:ea typeface="Meiryo"/>
                <a:cs typeface="Meiryo"/>
                <a:sym typeface="Meiryo"/>
              </a:rPr>
              <a:t>3</a:t>
            </a:r>
            <a:r>
              <a:rPr lang="ja-JP" altLang="en-US" sz="3200" b="0" dirty="0">
                <a:sym typeface="Meiryo"/>
              </a:rPr>
              <a:t>］</a:t>
            </a:r>
            <a:endParaRPr kumimoji="0" lang="ja-JP" altLang="en-US" sz="3200" b="0" kern="0" dirty="0"/>
          </a:p>
        </p:txBody>
      </p:sp>
      <p:grpSp>
        <p:nvGrpSpPr>
          <p:cNvPr id="28" name="図形グループ 27"/>
          <p:cNvGrpSpPr>
            <a:grpSpLocks noChangeAspect="1"/>
          </p:cNvGrpSpPr>
          <p:nvPr/>
        </p:nvGrpSpPr>
        <p:grpSpPr>
          <a:xfrm>
            <a:off x="5196435" y="3167090"/>
            <a:ext cx="720000" cy="540000"/>
            <a:chOff x="3355262" y="5469690"/>
            <a:chExt cx="720000" cy="540000"/>
          </a:xfrm>
        </p:grpSpPr>
        <p:cxnSp>
          <p:nvCxnSpPr>
            <p:cNvPr id="29" name="カギ線コネクタ 2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1" name="図形グループ 30"/>
          <p:cNvGrpSpPr/>
          <p:nvPr/>
        </p:nvGrpSpPr>
        <p:grpSpPr>
          <a:xfrm>
            <a:off x="6043266" y="3228529"/>
            <a:ext cx="296586" cy="293005"/>
            <a:chOff x="8127785" y="3995693"/>
            <a:chExt cx="296586" cy="293005"/>
          </a:xfrm>
        </p:grpSpPr>
        <p:sp>
          <p:nvSpPr>
            <p:cNvPr id="32" name="円/楕円 31"/>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フリーフォーム 32"/>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4" name="図形グループ 33"/>
          <p:cNvGrpSpPr/>
          <p:nvPr/>
        </p:nvGrpSpPr>
        <p:grpSpPr>
          <a:xfrm>
            <a:off x="2774187" y="2794573"/>
            <a:ext cx="296586" cy="293005"/>
            <a:chOff x="7423697" y="3995693"/>
            <a:chExt cx="296586" cy="293005"/>
          </a:xfrm>
        </p:grpSpPr>
        <p:sp>
          <p:nvSpPr>
            <p:cNvPr id="35" name="円/楕円 34"/>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フリーフォーム 35"/>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44" name="Google Shape;144;g1445ac9894b_0_105"/>
          <p:cNvSpPr txBox="1"/>
          <p:nvPr/>
        </p:nvSpPr>
        <p:spPr>
          <a:xfrm>
            <a:off x="311556" y="1906833"/>
            <a:ext cx="2340000" cy="2531462"/>
          </a:xfrm>
          <a:prstGeom prst="rect">
            <a:avLst/>
          </a:prstGeom>
          <a:noFill/>
          <a:ln>
            <a:noFill/>
          </a:ln>
        </p:spPr>
        <p:txBody>
          <a:bodyPr spcFirstLastPara="1" wrap="square" lIns="0" tIns="0" rIns="0" bIns="0" anchor="t" anchorCtr="0">
            <a:spAutoFit/>
          </a:bodyPr>
          <a:lstStyle/>
          <a:p>
            <a:pPr marL="9525" marR="0" lvl="0" algn="l" rtl="0">
              <a:spcBef>
                <a:spcPts val="0"/>
              </a:spcBef>
              <a:spcAft>
                <a:spcPts val="0"/>
              </a:spcAft>
              <a:buClr>
                <a:srgbClr val="000000"/>
              </a:buClr>
              <a:buSzPts val="2400"/>
              <a:buFont typeface="Arial"/>
              <a:buNone/>
              <a:tabLst>
                <a:tab pos="347663" algn="l"/>
              </a:tabLst>
            </a:pPr>
            <a:r>
              <a:rPr lang="ja-JP" sz="2400" b="1" dirty="0">
                <a:solidFill>
                  <a:srgbClr val="009650"/>
                </a:solidFill>
                <a:latin typeface="Meiryo"/>
                <a:ea typeface="Meiryo"/>
                <a:cs typeface="Meiryo"/>
                <a:sym typeface="Meiryo"/>
              </a:rPr>
              <a:t>❼</a:t>
            </a:r>
            <a:r>
              <a:rPr lang="en-US" altLang="ja-JP" sz="2400" b="1" dirty="0">
                <a:solidFill>
                  <a:srgbClr val="009650"/>
                </a:solidFill>
                <a:latin typeface="Meiryo"/>
                <a:ea typeface="Meiryo"/>
                <a:cs typeface="Meiryo"/>
                <a:sym typeface="Meiryo"/>
              </a:rPr>
              <a:t>	</a:t>
            </a:r>
            <a:r>
              <a:rPr lang="ja-JP" altLang="en-US" sz="1800" b="1" dirty="0">
                <a:solidFill>
                  <a:schemeClr val="tx1"/>
                </a:solidFill>
                <a:highlight>
                  <a:schemeClr val="lt1"/>
                </a:highlight>
                <a:latin typeface="Meiryo"/>
                <a:ea typeface="Meiryo"/>
                <a:cs typeface="Meiryo"/>
                <a:sym typeface="Meiryo"/>
              </a:rPr>
              <a:t>メールに記載</a:t>
            </a:r>
            <a:r>
              <a:rPr lang="ja-JP" altLang="en-US" sz="1800" b="1">
                <a:solidFill>
                  <a:schemeClr val="tx1"/>
                </a:solidFill>
                <a:highlight>
                  <a:schemeClr val="lt1"/>
                </a:highlight>
                <a:latin typeface="Meiryo"/>
                <a:ea typeface="Meiryo"/>
                <a:cs typeface="Meiryo"/>
                <a:sym typeface="Meiryo"/>
              </a:rPr>
              <a:t>の</a:t>
            </a:r>
            <a:r>
              <a:rPr lang="en-US" altLang="ja-JP" sz="1800" b="1">
                <a:solidFill>
                  <a:schemeClr val="tx1"/>
                </a:solidFill>
                <a:highlight>
                  <a:schemeClr val="lt1"/>
                </a:highlight>
                <a:latin typeface="Meiryo"/>
                <a:ea typeface="Meiryo"/>
                <a:cs typeface="Meiryo"/>
                <a:sym typeface="Meiryo"/>
              </a:rPr>
              <a:t>	</a:t>
            </a:r>
            <a:r>
              <a:rPr lang="ja-JP" altLang="en-US" sz="1800" b="1">
                <a:solidFill>
                  <a:schemeClr val="tx1"/>
                </a:solidFill>
                <a:highlight>
                  <a:schemeClr val="lt1"/>
                </a:highlight>
                <a:latin typeface="Meiryo"/>
                <a:ea typeface="Meiryo"/>
                <a:cs typeface="Meiryo"/>
                <a:sym typeface="Meiryo"/>
              </a:rPr>
              <a:t>あった</a:t>
            </a:r>
            <a:r>
              <a:rPr lang="en-US" altLang="ja-JP" sz="1800" b="1">
                <a:solidFill>
                  <a:schemeClr val="tx1"/>
                </a:solidFill>
                <a:highlight>
                  <a:schemeClr val="lt1"/>
                </a:highlight>
                <a:latin typeface="Meiryo"/>
                <a:ea typeface="Meiryo"/>
                <a:cs typeface="Meiryo"/>
                <a:sym typeface="Meiryo"/>
              </a:rPr>
              <a:t>｢</a:t>
            </a:r>
            <a:r>
              <a:rPr lang="ja-JP" sz="1800" b="1">
                <a:solidFill>
                  <a:schemeClr val="tx1"/>
                </a:solidFill>
                <a:highlight>
                  <a:schemeClr val="lt1"/>
                </a:highlight>
                <a:latin typeface="Meiryo"/>
                <a:ea typeface="Meiryo"/>
                <a:cs typeface="Meiryo"/>
                <a:sym typeface="Meiryo"/>
              </a:rPr>
              <a:t>認証</a:t>
            </a:r>
            <a:r>
              <a:rPr lang="ja-JP" sz="1800" b="1" dirty="0">
                <a:solidFill>
                  <a:schemeClr val="tx1"/>
                </a:solidFill>
                <a:highlight>
                  <a:schemeClr val="lt1"/>
                </a:highlight>
                <a:latin typeface="Meiryo"/>
                <a:ea typeface="Meiryo"/>
                <a:cs typeface="Meiryo"/>
                <a:sym typeface="Meiryo"/>
              </a:rPr>
              <a:t>番号</a:t>
            </a:r>
            <a:r>
              <a:rPr lang="en-US" altLang="ja-JP" sz="1800" b="1" dirty="0">
                <a:solidFill>
                  <a:schemeClr val="tx1"/>
                </a:solidFill>
                <a:highlight>
                  <a:schemeClr val="lt1"/>
                </a:highlight>
                <a:latin typeface="Meiryo"/>
                <a:ea typeface="Meiryo"/>
                <a:cs typeface="Meiryo"/>
                <a:sym typeface="Meiryo"/>
              </a:rPr>
              <a:t>｣</a:t>
            </a:r>
          </a:p>
          <a:p>
            <a:pPr marL="9525" marR="0" lvl="0" algn="l" rtl="0">
              <a:spcBef>
                <a:spcPts val="0"/>
              </a:spcBef>
              <a:spcAft>
                <a:spcPts val="0"/>
              </a:spcAft>
              <a:buClr>
                <a:srgbClr val="000000"/>
              </a:buClr>
              <a:buSzPts val="2400"/>
              <a:buFont typeface="Arial"/>
              <a:buNone/>
              <a:tabLst>
                <a:tab pos="347663" algn="l"/>
              </a:tabLst>
            </a:pPr>
            <a:r>
              <a:rPr lang="en-US" altLang="ja-JP" sz="1800" b="1" dirty="0">
                <a:solidFill>
                  <a:schemeClr val="tx1"/>
                </a:solidFill>
                <a:highlight>
                  <a:schemeClr val="lt1"/>
                </a:highlight>
                <a:latin typeface="Meiryo"/>
                <a:ea typeface="Meiryo"/>
                <a:cs typeface="Meiryo"/>
                <a:sym typeface="Meiryo"/>
              </a:rPr>
              <a:t>	</a:t>
            </a:r>
            <a:r>
              <a:rPr lang="ja-JP" sz="1800" b="1" dirty="0">
                <a:solidFill>
                  <a:schemeClr val="tx1"/>
                </a:solidFill>
                <a:highlight>
                  <a:schemeClr val="lt1"/>
                </a:highlight>
                <a:latin typeface="Meiryo"/>
                <a:ea typeface="Meiryo"/>
                <a:cs typeface="Meiryo"/>
                <a:sym typeface="Meiryo"/>
              </a:rPr>
              <a:t>を</a:t>
            </a:r>
            <a:r>
              <a:rPr lang="ja-JP" altLang="en-US" sz="1800" b="1" dirty="0">
                <a:solidFill>
                  <a:schemeClr val="tx1"/>
                </a:solidFill>
                <a:highlight>
                  <a:schemeClr val="lt1"/>
                </a:highlight>
                <a:latin typeface="Meiryo"/>
                <a:ea typeface="Meiryo"/>
                <a:cs typeface="Meiryo"/>
                <a:sym typeface="Meiryo"/>
              </a:rPr>
              <a:t>認証番号入</a:t>
            </a:r>
            <a:endParaRPr lang="en-US" altLang="ja-JP" sz="1800" b="1" dirty="0">
              <a:solidFill>
                <a:schemeClr val="tx1"/>
              </a:solidFill>
              <a:highlight>
                <a:schemeClr val="lt1"/>
              </a:highlight>
              <a:latin typeface="Meiryo"/>
              <a:ea typeface="Meiryo"/>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en-US" altLang="ja-JP" sz="1800" b="1" dirty="0">
                <a:solidFill>
                  <a:schemeClr val="tx1"/>
                </a:solidFill>
                <a:highlight>
                  <a:schemeClr val="lt1"/>
                </a:highlight>
                <a:latin typeface="Meiryo"/>
                <a:ea typeface="Meiryo"/>
                <a:cs typeface="Meiryo"/>
                <a:sym typeface="Meiryo"/>
              </a:rPr>
              <a:t>	</a:t>
            </a:r>
            <a:r>
              <a:rPr lang="ja-JP" altLang="en-US" sz="1800" b="1" dirty="0">
                <a:solidFill>
                  <a:schemeClr val="tx1"/>
                </a:solidFill>
                <a:highlight>
                  <a:schemeClr val="lt1"/>
                </a:highlight>
                <a:latin typeface="Meiryo"/>
                <a:ea typeface="Meiryo"/>
                <a:cs typeface="Meiryo"/>
                <a:sym typeface="Meiryo"/>
              </a:rPr>
              <a:t>力画面</a:t>
            </a:r>
            <a:r>
              <a:rPr lang="ja-JP" sz="1800" b="1" dirty="0">
                <a:solidFill>
                  <a:schemeClr val="tx1"/>
                </a:solidFill>
                <a:highlight>
                  <a:schemeClr val="lt1"/>
                </a:highlight>
                <a:latin typeface="Meiryo"/>
                <a:ea typeface="Meiryo"/>
                <a:cs typeface="Meiryo"/>
                <a:sym typeface="Meiryo"/>
              </a:rPr>
              <a:t>に入力</a:t>
            </a:r>
            <a:endParaRPr sz="1800" b="1" dirty="0">
              <a:solidFill>
                <a:schemeClr val="tx1"/>
              </a:solidFill>
              <a:highlight>
                <a:schemeClr val="lt1"/>
              </a:highlight>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sz="2400" b="1">
                <a:solidFill>
                  <a:srgbClr val="009650"/>
                </a:solidFill>
                <a:latin typeface="Meiryo"/>
                <a:ea typeface="Meiryo"/>
                <a:cs typeface="Meiryo"/>
                <a:sym typeface="Meiryo"/>
              </a:rPr>
              <a:t>❽</a:t>
            </a:r>
            <a:r>
              <a:rPr lang="en-US" altLang="ja-JP" sz="1800" b="1">
                <a:solidFill>
                  <a:srgbClr val="009650"/>
                </a:solidFill>
                <a:latin typeface="Meiryo"/>
                <a:ea typeface="Meiryo"/>
                <a:cs typeface="Meiryo"/>
                <a:sym typeface="Meiryo"/>
              </a:rPr>
              <a:t>	</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認証</a:t>
            </a:r>
            <a:r>
              <a:rPr lang="ja-JP" sz="1800" b="1" dirty="0">
                <a:solidFill>
                  <a:schemeClr val="dk1"/>
                </a:solidFill>
                <a:latin typeface="Meiryo"/>
                <a:ea typeface="Meiryo"/>
                <a:cs typeface="Meiryo"/>
                <a:sym typeface="Meiryo"/>
              </a:rPr>
              <a:t>する</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a:t>
            </a:r>
            <a:endParaRPr lang="en-US" altLang="ja-JP" sz="1800" b="1"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タップ</a:t>
            </a:r>
            <a:endParaRPr lang="en-US" altLang="ja-JP" sz="1800" b="1" dirty="0">
              <a:solidFill>
                <a:schemeClr val="dk1"/>
              </a:solidFill>
              <a:latin typeface="Meiryo"/>
              <a:ea typeface="Meiryo"/>
              <a:cs typeface="Meiryo"/>
              <a:sym typeface="Meiryo"/>
            </a:endParaRPr>
          </a:p>
          <a:p>
            <a:pPr marL="9525" marR="4343" lvl="0">
              <a:spcBef>
                <a:spcPts val="85"/>
              </a:spcBef>
              <a:buSzPts val="2400"/>
              <a:tabLst>
                <a:tab pos="347663" algn="l"/>
              </a:tabLst>
            </a:pPr>
            <a:r>
              <a:rPr lang="ja-JP" altLang="ja-JP" sz="2400" b="1" dirty="0">
                <a:solidFill>
                  <a:srgbClr val="009650"/>
                </a:solidFill>
                <a:latin typeface="Meiryo"/>
                <a:ea typeface="Meiryo"/>
                <a:cs typeface="Meiryo"/>
                <a:sym typeface="Meiryo"/>
              </a:rPr>
              <a:t>❾</a:t>
            </a:r>
            <a:r>
              <a:rPr lang="en-US" altLang="ja-JP" sz="2400" b="1" dirty="0">
                <a:solidFill>
                  <a:srgbClr val="009650"/>
                </a:solidFill>
                <a:latin typeface="Meiryo"/>
                <a:ea typeface="Meiryo"/>
                <a:cs typeface="Meiryo"/>
                <a:sym typeface="Meiryo"/>
              </a:rPr>
              <a:t>	</a:t>
            </a:r>
            <a:r>
              <a:rPr lang="ja-JP" altLang="en-US" sz="1800" b="1">
                <a:solidFill>
                  <a:schemeClr val="dk1"/>
                </a:solidFill>
                <a:latin typeface="Meiryo"/>
                <a:ea typeface="Meiryo"/>
                <a:cs typeface="Meiryo"/>
                <a:sym typeface="Meiryo"/>
              </a:rPr>
              <a:t>新規登録は</a:t>
            </a:r>
            <a:endParaRPr lang="en-US" altLang="ja-JP" sz="1800" b="1">
              <a:solidFill>
                <a:schemeClr val="dk1"/>
              </a:solidFill>
              <a:latin typeface="Meiryo"/>
              <a:ea typeface="Meiryo"/>
              <a:cs typeface="Meiryo"/>
              <a:sym typeface="Meiryo"/>
            </a:endParaRPr>
          </a:p>
          <a:p>
            <a:pPr marL="9525" marR="4343" lvl="0">
              <a:spcBef>
                <a:spcPts val="85"/>
              </a:spcBef>
              <a:buSzPts val="2400"/>
              <a:tabLst>
                <a:tab pos="347663" algn="l"/>
              </a:tabLst>
            </a:pPr>
            <a:r>
              <a:rPr lang="en-US" altLang="ja-JP" sz="1800" b="1" dirty="0">
                <a:solidFill>
                  <a:schemeClr val="dk1"/>
                </a:solidFill>
                <a:highlight>
                  <a:schemeClr val="lt1"/>
                </a:highlight>
                <a:latin typeface="Meiryo"/>
                <a:ea typeface="Meiryo"/>
                <a:cs typeface="Meiryo"/>
                <a:sym typeface="Meiryo"/>
              </a:rPr>
              <a:t>	</a:t>
            </a:r>
            <a:r>
              <a:rPr lang="ja-JP" altLang="ja-JP" sz="1800" b="1" dirty="0">
                <a:solidFill>
                  <a:schemeClr val="tx1"/>
                </a:solidFill>
                <a:highlight>
                  <a:schemeClr val="lt1"/>
                </a:highlight>
                <a:latin typeface="Meiryo"/>
                <a:ea typeface="Meiryo"/>
                <a:cs typeface="Meiryo"/>
                <a:sym typeface="Meiryo"/>
              </a:rPr>
              <a:t>完了です</a:t>
            </a:r>
            <a:endParaRPr sz="1800" b="1" dirty="0">
              <a:solidFill>
                <a:schemeClr val="tx1"/>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88"/>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607A06A-6164-4378-87E0-D23363CE5EA5}"/>
              </a:ext>
            </a:extLst>
          </p:cNvPr>
          <p:cNvGraphicFramePr>
            <a:graphicFrameLocks noChangeAspect="1"/>
          </p:cNvGraphicFramePr>
          <p:nvPr>
            <p:custDataLst>
              <p:tags r:id="rId2"/>
            </p:custDataLst>
            <p:extLst>
              <p:ext uri="{D42A27DB-BD31-4B8C-83A1-F6EECF244321}">
                <p14:modId xmlns:p14="http://schemas.microsoft.com/office/powerpoint/2010/main" val="2084828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0"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0" name="Google Shape;190;p6"/>
          <p:cNvSpPr txBox="1"/>
          <p:nvPr/>
        </p:nvSpPr>
        <p:spPr>
          <a:xfrm>
            <a:off x="306970" y="1897198"/>
            <a:ext cx="2330048" cy="3241257"/>
          </a:xfrm>
          <a:prstGeom prst="rect">
            <a:avLst/>
          </a:prstGeom>
          <a:noFill/>
          <a:ln>
            <a:noFill/>
          </a:ln>
        </p:spPr>
        <p:txBody>
          <a:bodyPr spcFirstLastPara="1" wrap="square" lIns="0" tIns="12050" rIns="0" bIns="0" anchor="t" anchorCtr="0">
            <a:spAutoFit/>
          </a:bodyPr>
          <a:lstStyle/>
          <a:p>
            <a:pPr marL="9525" lvl="0">
              <a:tabLst>
                <a:tab pos="347663" algn="l"/>
              </a:tabLst>
            </a:pPr>
            <a:r>
              <a:rPr lang="ja-JP" sz="2400" b="1" i="0" u="none" strike="noStrike" cap="none">
                <a:solidFill>
                  <a:srgbClr val="009650"/>
                </a:solidFill>
                <a:latin typeface="Meiryo"/>
                <a:ea typeface="Meiryo"/>
                <a:cs typeface="Meiryo"/>
                <a:sym typeface="Meiryo"/>
              </a:rPr>
              <a:t>❶</a:t>
            </a:r>
            <a:r>
              <a:rPr lang="en-US" altLang="ja-JP" sz="2400" b="1" i="0" u="none" strike="noStrike" cap="none">
                <a:solidFill>
                  <a:srgbClr val="009650"/>
                </a:solidFill>
                <a:latin typeface="Meiryo"/>
                <a:ea typeface="Meiryo"/>
                <a:cs typeface="Meiryo"/>
                <a:sym typeface="Meiryo"/>
              </a:rPr>
              <a:t>	</a:t>
            </a:r>
            <a:r>
              <a:rPr lang="en-US" altLang="ja-JP" sz="1800" b="1" i="0" u="none" strike="noStrike" cap="none">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アカウント</a:t>
            </a:r>
            <a:r>
              <a:rPr lang="en-US" altLang="ja-JP" sz="1800" b="1" dirty="0">
                <a:solidFill>
                  <a:schemeClr val="dk1"/>
                </a:solidFill>
                <a:latin typeface="Meiryo"/>
                <a:ea typeface="Meiryo"/>
                <a:cs typeface="Meiryo"/>
                <a:sym typeface="Meiryo"/>
              </a:rPr>
              <a:t>｣</a:t>
            </a:r>
            <a:r>
              <a:rPr lang="ja-JP" altLang="en-US" sz="1800" b="1" dirty="0">
                <a:solidFill>
                  <a:schemeClr val="dk1"/>
                </a:solidFill>
                <a:latin typeface="Meiryo"/>
                <a:ea typeface="Meiryo"/>
                <a:cs typeface="Meiryo"/>
                <a:sym typeface="Meiryo"/>
              </a:rPr>
              <a:t>を</a:t>
            </a:r>
            <a:endParaRPr lang="en-US" altLang="ja-JP" sz="1800" b="1" dirty="0">
              <a:solidFill>
                <a:schemeClr val="dk1"/>
              </a:solidFill>
              <a:latin typeface="Meiryo"/>
              <a:ea typeface="Meiryo"/>
              <a:cs typeface="Meiryo"/>
              <a:sym typeface="Meiryo"/>
            </a:endParaRPr>
          </a:p>
          <a:p>
            <a:pPr marL="9525" marR="0" lvl="0" algn="l" rtl="0">
              <a:spcBef>
                <a:spcPts val="0"/>
              </a:spcBef>
              <a:spcAft>
                <a:spcPts val="0"/>
              </a:spcAft>
              <a:buNone/>
              <a:tabLst>
                <a:tab pos="347663" algn="l"/>
              </a:tabLst>
            </a:pPr>
            <a:r>
              <a:rPr lang="en-US" altLang="ja-JP" sz="1800" b="1" dirty="0">
                <a:solidFill>
                  <a:schemeClr val="dk1"/>
                </a:solidFill>
                <a:latin typeface="Meiryo"/>
                <a:ea typeface="Meiryo"/>
                <a:cs typeface="Meiryo"/>
                <a:sym typeface="Meiryo"/>
              </a:rPr>
              <a:t>	</a:t>
            </a:r>
            <a:r>
              <a:rPr lang="ja-JP" altLang="en-US" sz="1800" b="1" dirty="0">
                <a:solidFill>
                  <a:schemeClr val="dk1"/>
                </a:solidFill>
                <a:latin typeface="Meiryo"/>
                <a:ea typeface="Meiryo"/>
                <a:cs typeface="Meiryo"/>
                <a:sym typeface="Meiryo"/>
              </a:rPr>
              <a:t>タップ</a:t>
            </a:r>
            <a:endParaRPr lang="en-US" altLang="ja-JP" sz="1800" b="1" dirty="0">
              <a:solidFill>
                <a:schemeClr val="dk1"/>
              </a:solidFill>
              <a:latin typeface="Meiryo"/>
              <a:ea typeface="Meiryo"/>
              <a:cs typeface="Meiryo"/>
              <a:sym typeface="Meiryo"/>
            </a:endParaRPr>
          </a:p>
          <a:p>
            <a:pPr marL="9525" marR="0" lvl="0" algn="l" rtl="0">
              <a:spcBef>
                <a:spcPts val="0"/>
              </a:spcBef>
              <a:spcAft>
                <a:spcPts val="0"/>
              </a:spcAft>
              <a:buNone/>
              <a:tabLst>
                <a:tab pos="347663" algn="l"/>
              </a:tabLst>
            </a:pPr>
            <a:r>
              <a:rPr kumimoji="0" lang="ja-JP" altLang="en-US" sz="2400" b="1" i="0" u="none" strike="noStrike" kern="0" cap="none" spc="0" normalizeH="0" baseline="0" noProof="0">
                <a:ln>
                  <a:noFill/>
                </a:ln>
                <a:solidFill>
                  <a:srgbClr val="009650"/>
                </a:solidFill>
                <a:effectLst/>
                <a:uLnTx/>
                <a:uFillTx/>
                <a:latin typeface="Meiryo"/>
                <a:ea typeface="Meiryo"/>
                <a:cs typeface="Meiryo"/>
                <a:sym typeface="Meiryo"/>
              </a:rPr>
              <a:t>❷</a:t>
            </a:r>
            <a:r>
              <a:rPr kumimoji="0" lang="en-US" altLang="ja-JP" sz="2400" b="1" i="0" u="none" strike="noStrike" kern="0" cap="none" spc="0" normalizeH="0" baseline="0" noProof="0">
                <a:ln>
                  <a:noFill/>
                </a:ln>
                <a:solidFill>
                  <a:srgbClr val="009650"/>
                </a:solidFill>
                <a:effectLst/>
                <a:uLnTx/>
                <a:uFillTx/>
                <a:latin typeface="Meiryo"/>
                <a:ea typeface="Meiryo"/>
                <a:cs typeface="Meiryo"/>
                <a:sym typeface="Meiryo"/>
              </a:rPr>
              <a:t>	</a:t>
            </a:r>
            <a:r>
              <a:rPr lang="en-US" altLang="ja-JP" sz="1800" b="1" i="0" u="none" strike="noStrike" cap="none">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設定</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タップ</a:t>
            </a:r>
            <a:endParaRPr sz="1800" b="1" i="0" u="none" strike="noStrike" cap="none"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kumimoji="0" lang="ja-JP" altLang="en-US" sz="2400" b="1" i="0" u="none" strike="noStrike" kern="0" cap="none" spc="0" normalizeH="0" baseline="0" noProof="0">
                <a:ln>
                  <a:noFill/>
                </a:ln>
                <a:solidFill>
                  <a:srgbClr val="009650"/>
                </a:solidFill>
                <a:effectLst/>
                <a:uLnTx/>
                <a:uFillTx/>
                <a:latin typeface="Meiryo"/>
                <a:ea typeface="Meiryo"/>
                <a:cs typeface="Meiryo"/>
                <a:sym typeface="Meiryo"/>
              </a:rPr>
              <a:t>❸</a:t>
            </a:r>
            <a:r>
              <a:rPr kumimoji="0" lang="en-US" altLang="ja-JP" sz="2400" b="1" i="0" u="none" strike="noStrike" kern="0" cap="none" spc="0" normalizeH="0" baseline="0" noProof="0">
                <a:ln>
                  <a:noFill/>
                </a:ln>
                <a:solidFill>
                  <a:srgbClr val="009650"/>
                </a:solidFill>
                <a:effectLst/>
                <a:uLnTx/>
                <a:uFillTx/>
                <a:latin typeface="Meiryo"/>
                <a:ea typeface="Meiryo"/>
                <a:cs typeface="Meiryo"/>
                <a:sym typeface="Meiryo"/>
              </a:rPr>
              <a:t>	</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プロフィール</a:t>
            </a:r>
            <a:r>
              <a:rPr lang="en-US" altLang="ja-JP" sz="1800" b="1" dirty="0">
                <a:solidFill>
                  <a:schemeClr val="dk1"/>
                </a:solidFill>
                <a:latin typeface="Meiryo"/>
                <a:ea typeface="Meiryo"/>
                <a:cs typeface="Meiryo"/>
                <a:sym typeface="Meiryo"/>
              </a:rPr>
              <a:t>｣</a:t>
            </a:r>
          </a:p>
          <a:p>
            <a:pPr marL="9525" marR="4343" lvl="0" algn="l" rtl="0">
              <a:spcBef>
                <a:spcPts val="85"/>
              </a:spcBef>
              <a:spcAft>
                <a:spcPts val="0"/>
              </a:spcAft>
              <a:buClr>
                <a:srgbClr val="000000"/>
              </a:buClr>
              <a:buSzPts val="2400"/>
              <a:buFont typeface="Arial"/>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をタップ</a:t>
            </a:r>
            <a:endParaRPr sz="1800" b="1" dirty="0">
              <a:solidFill>
                <a:schemeClr val="dk1"/>
              </a:solidFill>
              <a:latin typeface="Meiryo"/>
              <a:ea typeface="Meiryo"/>
              <a:cs typeface="Meiryo"/>
              <a:sym typeface="Meiryo"/>
            </a:endParaRPr>
          </a:p>
          <a:p>
            <a:pPr marL="9525" marR="4343" lvl="0" algn="l" rtl="0">
              <a:spcBef>
                <a:spcPts val="85"/>
              </a:spcBef>
              <a:spcAft>
                <a:spcPts val="0"/>
              </a:spcAft>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Meiryo"/>
                <a:ea typeface="Meiryo"/>
                <a:cs typeface="Meiryo"/>
                <a:sym typeface="Meiryo"/>
              </a:rPr>
              <a:t>❹</a:t>
            </a:r>
            <a:r>
              <a:rPr kumimoji="0" lang="en-US" altLang="ja-JP" sz="2400" b="1" i="0" u="none" strike="noStrike" kern="0" cap="none" spc="0" normalizeH="0" baseline="0" noProof="0" dirty="0">
                <a:ln>
                  <a:noFill/>
                </a:ln>
                <a:solidFill>
                  <a:srgbClr val="009650"/>
                </a:solidFill>
                <a:effectLst/>
                <a:uLnTx/>
                <a:uFillTx/>
                <a:latin typeface="Meiryo"/>
                <a:ea typeface="Meiryo"/>
                <a:cs typeface="Meiryo"/>
                <a:sym typeface="Meiryo"/>
              </a:rPr>
              <a:t>	</a:t>
            </a:r>
            <a:r>
              <a:rPr lang="ja-JP" sz="1800" b="1" dirty="0">
                <a:solidFill>
                  <a:schemeClr val="dk1"/>
                </a:solidFill>
                <a:latin typeface="Meiryo"/>
                <a:ea typeface="Meiryo"/>
                <a:cs typeface="Meiryo"/>
                <a:sym typeface="Meiryo"/>
              </a:rPr>
              <a:t>必須項目を</a:t>
            </a:r>
            <a:endParaRPr lang="en-US" altLang="ja-JP" sz="1800" b="1" dirty="0">
              <a:solidFill>
                <a:schemeClr val="dk1"/>
              </a:solidFill>
              <a:latin typeface="Meiryo"/>
              <a:ea typeface="Meiryo"/>
              <a:cs typeface="Meiryo"/>
              <a:sym typeface="Meiryo"/>
            </a:endParaRPr>
          </a:p>
          <a:p>
            <a:pPr marL="9525" marR="4343" lvl="0" algn="l" rtl="0">
              <a:spcBef>
                <a:spcPts val="85"/>
              </a:spcBef>
              <a:spcAft>
                <a:spcPts val="0"/>
              </a:spcAft>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全て入力し、</a:t>
            </a:r>
            <a:endParaRPr lang="en-US" altLang="ja-JP" sz="1800" b="1" dirty="0">
              <a:solidFill>
                <a:schemeClr val="dk1"/>
              </a:solidFill>
              <a:latin typeface="Meiryo"/>
              <a:ea typeface="Meiryo"/>
              <a:cs typeface="Meiryo"/>
              <a:sym typeface="Meiryo"/>
            </a:endParaRPr>
          </a:p>
          <a:p>
            <a:pPr marL="9525" marR="4343" lvl="0" algn="l" rtl="0">
              <a:spcBef>
                <a:spcPts val="85"/>
              </a:spcBef>
              <a:spcAft>
                <a:spcPts val="0"/>
              </a:spcAft>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下に</a:t>
            </a:r>
            <a:endParaRPr lang="en-US" altLang="ja-JP" sz="1800" b="1" dirty="0">
              <a:solidFill>
                <a:schemeClr val="dk1"/>
              </a:solidFill>
              <a:latin typeface="Meiryo"/>
              <a:ea typeface="Meiryo"/>
              <a:cs typeface="Meiryo"/>
              <a:sym typeface="Meiryo"/>
            </a:endParaRPr>
          </a:p>
          <a:p>
            <a:pPr marL="9525" marR="4343" lvl="0" algn="l" rtl="0">
              <a:spcBef>
                <a:spcPts val="85"/>
              </a:spcBef>
              <a:spcAft>
                <a:spcPts val="0"/>
              </a:spcAft>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スクロール</a:t>
            </a:r>
            <a:endParaRPr sz="1800" b="1" dirty="0">
              <a:solidFill>
                <a:schemeClr val="dk1"/>
              </a:solidFill>
              <a:latin typeface="Meiryo"/>
              <a:ea typeface="Meiryo"/>
              <a:cs typeface="Meiryo"/>
              <a:sym typeface="Meiryo"/>
            </a:endParaRPr>
          </a:p>
          <a:p>
            <a:pPr marL="9525" marR="4343" lvl="0" algn="l" rtl="0">
              <a:spcBef>
                <a:spcPts val="85"/>
              </a:spcBef>
              <a:spcAft>
                <a:spcPts val="0"/>
              </a:spcAft>
              <a:buNone/>
              <a:tabLst>
                <a:tab pos="347663" algn="l"/>
              </a:tabLst>
            </a:pPr>
            <a:endParaRPr sz="1800" b="1" dirty="0">
              <a:solidFill>
                <a:schemeClr val="dk1"/>
              </a:solidFill>
              <a:latin typeface="Meiryo"/>
              <a:ea typeface="Meiryo"/>
              <a:cs typeface="Meiryo"/>
              <a:sym typeface="Meiryo"/>
            </a:endParaRPr>
          </a:p>
        </p:txBody>
      </p:sp>
      <p:grpSp>
        <p:nvGrpSpPr>
          <p:cNvPr id="195" name="Google Shape;195;p6"/>
          <p:cNvGrpSpPr/>
          <p:nvPr/>
        </p:nvGrpSpPr>
        <p:grpSpPr>
          <a:xfrm>
            <a:off x="4334264" y="2473002"/>
            <a:ext cx="441147" cy="400110"/>
            <a:chOff x="3501100" y="4812902"/>
            <a:chExt cx="441147" cy="400110"/>
          </a:xfrm>
        </p:grpSpPr>
        <p:sp>
          <p:nvSpPr>
            <p:cNvPr id="196" name="Google Shape;196;p6"/>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32" b="0" i="0" u="none" strike="noStrike" cap="none">
                <a:solidFill>
                  <a:schemeClr val="lt1"/>
                </a:solidFill>
                <a:latin typeface="Calibri"/>
                <a:ea typeface="Calibri"/>
                <a:cs typeface="Calibri"/>
                <a:sym typeface="Calibri"/>
              </a:endParaRPr>
            </a:p>
          </p:txBody>
        </p:sp>
        <p:sp>
          <p:nvSpPr>
            <p:cNvPr id="197" name="Google Shape;197;p6"/>
            <p:cNvSpPr/>
            <p:nvPr/>
          </p:nvSpPr>
          <p:spPr>
            <a:xfrm>
              <a:off x="3501100" y="4812902"/>
              <a:ext cx="441147" cy="4001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endParaRPr sz="2000" b="1" i="0" u="none" strike="noStrike" cap="none">
                <a:solidFill>
                  <a:srgbClr val="009650"/>
                </a:solidFill>
                <a:latin typeface="Meiryo"/>
                <a:ea typeface="Meiryo"/>
                <a:cs typeface="Meiryo"/>
                <a:sym typeface="Meiryo"/>
              </a:endParaRPr>
            </a:p>
          </p:txBody>
        </p:sp>
      </p:grpSp>
      <p:pic>
        <p:nvPicPr>
          <p:cNvPr id="199" name="Google Shape;199;p6" descr="アカウント画面の「設定」をタップしている画像"/>
          <p:cNvPicPr preferRelativeResize="0">
            <a:picLocks noChangeAspect="1"/>
          </p:cNvPicPr>
          <p:nvPr/>
        </p:nvPicPr>
        <p:blipFill>
          <a:blip r:embed="rId7">
            <a:alphaModFix/>
          </a:blip>
          <a:stretch>
            <a:fillRect/>
          </a:stretch>
        </p:blipFill>
        <p:spPr>
          <a:xfrm>
            <a:off x="2407788" y="1992335"/>
            <a:ext cx="1644623"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00" name="Google Shape;200;p6"/>
          <p:cNvSpPr/>
          <p:nvPr/>
        </p:nvSpPr>
        <p:spPr>
          <a:xfrm>
            <a:off x="2438233" y="4119264"/>
            <a:ext cx="1584000"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pic>
        <p:nvPicPr>
          <p:cNvPr id="201" name="Google Shape;201;p6" descr="設定画面で「プロフィール」をタップしている画像"/>
          <p:cNvPicPr preferRelativeResize="0">
            <a:picLocks noChangeAspect="1"/>
          </p:cNvPicPr>
          <p:nvPr/>
        </p:nvPicPr>
        <p:blipFill>
          <a:blip r:embed="rId8">
            <a:alphaModFix/>
          </a:blip>
          <a:stretch>
            <a:fillRect/>
          </a:stretch>
        </p:blipFill>
        <p:spPr>
          <a:xfrm>
            <a:off x="4514514" y="1992335"/>
            <a:ext cx="1911957"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07" name="Google Shape;207;p6"/>
          <p:cNvSpPr/>
          <p:nvPr/>
        </p:nvSpPr>
        <p:spPr>
          <a:xfrm>
            <a:off x="4543310" y="2516445"/>
            <a:ext cx="1836000"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6" name="Google Shape;200;p6">
            <a:extLst>
              <a:ext uri="{FF2B5EF4-FFF2-40B4-BE49-F238E27FC236}">
                <a16:creationId xmlns:a16="http://schemas.microsoft.com/office/drawing/2014/main" id="{89A6351D-6606-4920-8FB2-6B9887F90D54}"/>
              </a:ext>
            </a:extLst>
          </p:cNvPr>
          <p:cNvSpPr/>
          <p:nvPr/>
        </p:nvSpPr>
        <p:spPr>
          <a:xfrm>
            <a:off x="3613826" y="5878315"/>
            <a:ext cx="46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33"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3</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プロフィール登</a:t>
            </a:r>
            <a:r>
              <a:rPr lang="ja-JP" altLang="ja-JP" sz="3200" spc="-1250" dirty="0">
                <a:latin typeface="Meiryo"/>
                <a:ea typeface="Meiryo"/>
                <a:cs typeface="Meiryo"/>
                <a:sym typeface="Meiryo"/>
              </a:rPr>
              <a:t>録</a:t>
            </a:r>
            <a:r>
              <a:rPr lang="ja-JP" altLang="en-US" sz="3200" b="0" dirty="0">
                <a:sym typeface="Meiryo"/>
              </a:rPr>
              <a:t>［</a:t>
            </a:r>
            <a:r>
              <a:rPr lang="en-US" altLang="ja-JP" sz="3200" dirty="0">
                <a:latin typeface="Meiryo"/>
                <a:ea typeface="Meiryo"/>
                <a:cs typeface="Meiryo"/>
                <a:sym typeface="Meiryo"/>
              </a:rPr>
              <a:t>1</a:t>
            </a:r>
            <a:r>
              <a:rPr lang="ja-JP" altLang="en-US" sz="3200" b="0" dirty="0">
                <a:sym typeface="Meiryo"/>
              </a:rPr>
              <a:t>］</a:t>
            </a:r>
            <a:endParaRPr kumimoji="0" lang="ja-JP" altLang="en-US" sz="3200" b="0" kern="0" dirty="0"/>
          </a:p>
        </p:txBody>
      </p:sp>
      <p:grpSp>
        <p:nvGrpSpPr>
          <p:cNvPr id="34" name="図形グループ 33"/>
          <p:cNvGrpSpPr>
            <a:grpSpLocks noChangeAspect="1"/>
          </p:cNvGrpSpPr>
          <p:nvPr/>
        </p:nvGrpSpPr>
        <p:grpSpPr>
          <a:xfrm>
            <a:off x="4090391" y="3304349"/>
            <a:ext cx="360000" cy="270000"/>
            <a:chOff x="3355262" y="5469690"/>
            <a:chExt cx="720000" cy="540000"/>
          </a:xfrm>
        </p:grpSpPr>
        <p:cxnSp>
          <p:nvCxnSpPr>
            <p:cNvPr id="35" name="カギ線コネクタ 34"/>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7" name="図形グループ 36"/>
          <p:cNvGrpSpPr>
            <a:grpSpLocks noChangeAspect="1"/>
          </p:cNvGrpSpPr>
          <p:nvPr/>
        </p:nvGrpSpPr>
        <p:grpSpPr>
          <a:xfrm>
            <a:off x="6476038" y="3304349"/>
            <a:ext cx="360000" cy="270000"/>
            <a:chOff x="3355262" y="5469690"/>
            <a:chExt cx="720000" cy="540000"/>
          </a:xfrm>
        </p:grpSpPr>
        <p:cxnSp>
          <p:nvCxnSpPr>
            <p:cNvPr id="38" name="カギ線コネクタ 37"/>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43" name="図形グループ 42"/>
          <p:cNvGrpSpPr/>
          <p:nvPr/>
        </p:nvGrpSpPr>
        <p:grpSpPr>
          <a:xfrm>
            <a:off x="4399493" y="2369116"/>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6" name="図形グループ 45"/>
          <p:cNvGrpSpPr/>
          <p:nvPr/>
        </p:nvGrpSpPr>
        <p:grpSpPr>
          <a:xfrm>
            <a:off x="2298135" y="3969317"/>
            <a:ext cx="296586" cy="293005"/>
            <a:chOff x="3546641" y="3995693"/>
            <a:chExt cx="296586" cy="293005"/>
          </a:xfrm>
        </p:grpSpPr>
        <p:sp>
          <p:nvSpPr>
            <p:cNvPr id="47" name="円/楕円 4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フリーフォーム 4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9" name="図形グループ 48"/>
          <p:cNvGrpSpPr/>
          <p:nvPr/>
        </p:nvGrpSpPr>
        <p:grpSpPr>
          <a:xfrm>
            <a:off x="3468917" y="5727776"/>
            <a:ext cx="296587" cy="293005"/>
            <a:chOff x="2897417" y="3995693"/>
            <a:chExt cx="296587" cy="293005"/>
          </a:xfrm>
        </p:grpSpPr>
        <p:sp>
          <p:nvSpPr>
            <p:cNvPr id="50" name="円/楕円 4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テキスト ボックス 5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 name="グループ化 2" descr="新規プロフィール画面を下にスクロールしている画像">
            <a:extLst>
              <a:ext uri="{FF2B5EF4-FFF2-40B4-BE49-F238E27FC236}">
                <a16:creationId xmlns:a16="http://schemas.microsoft.com/office/drawing/2014/main" id="{5339B1F0-41CA-4AAB-83D5-9F782EF8D7BE}"/>
              </a:ext>
            </a:extLst>
          </p:cNvPr>
          <p:cNvGrpSpPr/>
          <p:nvPr/>
        </p:nvGrpSpPr>
        <p:grpSpPr>
          <a:xfrm>
            <a:off x="6891705" y="1992335"/>
            <a:ext cx="1706399" cy="4251197"/>
            <a:chOff x="6891705" y="1992335"/>
            <a:chExt cx="1706399" cy="4251197"/>
          </a:xfrm>
        </p:grpSpPr>
        <p:pic>
          <p:nvPicPr>
            <p:cNvPr id="209" name="Google Shape;209;p6"/>
            <p:cNvPicPr preferRelativeResize="0">
              <a:picLocks noChangeAspect="1"/>
            </p:cNvPicPr>
            <p:nvPr/>
          </p:nvPicPr>
          <p:blipFill rotWithShape="1">
            <a:blip r:embed="rId9">
              <a:alphaModFix/>
            </a:blip>
            <a:srcRect b="38095"/>
            <a:stretch/>
          </p:blipFill>
          <p:spPr>
            <a:xfrm>
              <a:off x="6891705" y="1992335"/>
              <a:ext cx="1644746"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9" name="上矢印 24">
              <a:extLst>
                <a:ext uri="{FF2B5EF4-FFF2-40B4-BE49-F238E27FC236}">
                  <a16:creationId xmlns:a16="http://schemas.microsoft.com/office/drawing/2014/main" id="{D2FADB43-D34D-44E6-A1EE-E1566A3281FB}"/>
                </a:ext>
              </a:extLst>
            </p:cNvPr>
            <p:cNvSpPr/>
            <p:nvPr/>
          </p:nvSpPr>
          <p:spPr>
            <a:xfrm>
              <a:off x="7584651" y="4431689"/>
              <a:ext cx="631902" cy="1811843"/>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54" name="図 53"/>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7936115" y="5542732"/>
              <a:ext cx="504000" cy="575025"/>
            </a:xfrm>
            <a:prstGeom prst="rect">
              <a:avLst/>
            </a:prstGeom>
          </p:spPr>
        </p:pic>
        <p:grpSp>
          <p:nvGrpSpPr>
            <p:cNvPr id="55" name="図形グループ 54"/>
            <p:cNvGrpSpPr/>
            <p:nvPr/>
          </p:nvGrpSpPr>
          <p:grpSpPr>
            <a:xfrm>
              <a:off x="8301518" y="5437632"/>
              <a:ext cx="296586" cy="293005"/>
              <a:chOff x="5101121" y="3995693"/>
              <a:chExt cx="296586" cy="293005"/>
            </a:xfrm>
          </p:grpSpPr>
          <p:sp>
            <p:nvSpPr>
              <p:cNvPr id="56" name="円/楕円 55"/>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227F5ABC-D2EE-44FE-8F5B-B6068924E50C}"/>
              </a:ext>
            </a:extLst>
          </p:cNvPr>
          <p:cNvGraphicFramePr>
            <a:graphicFrameLocks noChangeAspect="1"/>
          </p:cNvGraphicFramePr>
          <p:nvPr>
            <p:custDataLst>
              <p:tags r:id="rId2"/>
            </p:custDataLst>
            <p:extLst>
              <p:ext uri="{D42A27DB-BD31-4B8C-83A1-F6EECF244321}">
                <p14:modId xmlns:p14="http://schemas.microsoft.com/office/powerpoint/2010/main" val="2601705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5"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7" name="Google Shape;217;g143519c7921_0_20"/>
          <p:cNvSpPr txBox="1"/>
          <p:nvPr/>
        </p:nvSpPr>
        <p:spPr>
          <a:xfrm>
            <a:off x="317244" y="1907472"/>
            <a:ext cx="2520000" cy="1040654"/>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None/>
              <a:tabLst>
                <a:tab pos="347663" algn="l"/>
              </a:tabLst>
            </a:pPr>
            <a:r>
              <a:rPr kumimoji="0" lang="ja-JP" altLang="en-US" sz="2400" b="1" i="0" u="none" strike="noStrike" kern="0" cap="none" spc="0" normalizeH="0" baseline="0" noProof="0">
                <a:ln>
                  <a:noFill/>
                </a:ln>
                <a:solidFill>
                  <a:srgbClr val="009650"/>
                </a:solidFill>
                <a:effectLst/>
                <a:uLnTx/>
                <a:uFillTx/>
                <a:latin typeface="Meiryo"/>
                <a:ea typeface="Meiryo"/>
                <a:cs typeface="Meiryo"/>
                <a:sym typeface="Meiryo"/>
              </a:rPr>
              <a:t>❺</a:t>
            </a:r>
            <a:r>
              <a:rPr kumimoji="0" lang="en-US" altLang="ja-JP" sz="2400" b="1" i="0" u="none" strike="noStrike" kern="0" cap="none" spc="0" normalizeH="0" baseline="0" noProof="0">
                <a:ln>
                  <a:noFill/>
                </a:ln>
                <a:solidFill>
                  <a:srgbClr val="009650"/>
                </a:solidFill>
                <a:effectLst/>
                <a:uLnTx/>
                <a:uFillTx/>
                <a:latin typeface="Meiryo"/>
                <a:ea typeface="Meiryo"/>
                <a:cs typeface="Meiryo"/>
                <a:sym typeface="Meiryo"/>
              </a:rPr>
              <a:t>	</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送信</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タップ</a:t>
            </a:r>
            <a:endParaRPr sz="1800" b="1"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kumimoji="0" lang="ja-JP" altLang="en-US" sz="2400" b="1" i="0" u="none" strike="noStrike" kern="0" cap="none" spc="0" normalizeH="0" baseline="0" noProof="0">
                <a:ln>
                  <a:noFill/>
                </a:ln>
                <a:solidFill>
                  <a:srgbClr val="009650"/>
                </a:solidFill>
                <a:effectLst/>
                <a:uLnTx/>
                <a:uFillTx/>
                <a:latin typeface="Meiryo"/>
                <a:ea typeface="Meiryo"/>
                <a:cs typeface="Meiryo"/>
                <a:sym typeface="Meiryo"/>
              </a:rPr>
              <a:t>❻</a:t>
            </a:r>
            <a:r>
              <a:rPr kumimoji="0" lang="en-US" altLang="ja-JP" sz="2400" b="1" i="0" u="none" strike="noStrike" kern="0" cap="none" spc="0" normalizeH="0" baseline="0" noProof="0">
                <a:ln>
                  <a:noFill/>
                </a:ln>
                <a:solidFill>
                  <a:srgbClr val="009650"/>
                </a:solidFill>
                <a:effectLst/>
                <a:uLnTx/>
                <a:uFillTx/>
                <a:latin typeface="Meiryo"/>
                <a:ea typeface="Meiryo"/>
                <a:cs typeface="Meiryo"/>
                <a:sym typeface="Meiryo"/>
              </a:rPr>
              <a:t>	</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プロフィール</a:t>
            </a:r>
            <a:r>
              <a:rPr lang="ja-JP" sz="1800" b="1" dirty="0">
                <a:solidFill>
                  <a:schemeClr val="dk1"/>
                </a:solidFill>
                <a:latin typeface="Meiryo"/>
                <a:ea typeface="Meiryo"/>
                <a:cs typeface="Meiryo"/>
                <a:sym typeface="Meiryo"/>
              </a:rPr>
              <a:t>登録</a:t>
            </a: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は完了です。</a:t>
            </a:r>
            <a:endParaRPr sz="1800" b="1" dirty="0">
              <a:solidFill>
                <a:schemeClr val="dk1"/>
              </a:solidFill>
              <a:latin typeface="Meiryo"/>
              <a:ea typeface="Meiryo"/>
              <a:cs typeface="Meiryo"/>
              <a:sym typeface="Meiryo"/>
            </a:endParaRPr>
          </a:p>
        </p:txBody>
      </p:sp>
      <p:grpSp>
        <p:nvGrpSpPr>
          <p:cNvPr id="222" name="Google Shape;222;g143519c7921_0_20"/>
          <p:cNvGrpSpPr/>
          <p:nvPr/>
        </p:nvGrpSpPr>
        <p:grpSpPr>
          <a:xfrm>
            <a:off x="4580800" y="2354130"/>
            <a:ext cx="441000" cy="400200"/>
            <a:chOff x="3501100" y="4812902"/>
            <a:chExt cx="441000" cy="400200"/>
          </a:xfrm>
        </p:grpSpPr>
        <p:sp>
          <p:nvSpPr>
            <p:cNvPr id="223" name="Google Shape;223;g143519c7921_0_20"/>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32" b="0" i="0" u="none" strike="noStrike" cap="none">
                <a:solidFill>
                  <a:schemeClr val="lt1"/>
                </a:solidFill>
                <a:latin typeface="Calibri"/>
                <a:ea typeface="Calibri"/>
                <a:cs typeface="Calibri"/>
                <a:sym typeface="Calibri"/>
              </a:endParaRPr>
            </a:p>
          </p:txBody>
        </p:sp>
        <p:sp>
          <p:nvSpPr>
            <p:cNvPr id="224" name="Google Shape;224;g143519c7921_0_20"/>
            <p:cNvSpPr/>
            <p:nvPr/>
          </p:nvSpPr>
          <p:spPr>
            <a:xfrm>
              <a:off x="3501100" y="4812902"/>
              <a:ext cx="441000" cy="4002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000" b="1" i="0" u="none" strike="noStrike" cap="none">
                <a:solidFill>
                  <a:srgbClr val="009650"/>
                </a:solidFill>
                <a:latin typeface="Meiryo"/>
                <a:ea typeface="Meiryo"/>
                <a:cs typeface="Meiryo"/>
                <a:sym typeface="Meiryo"/>
              </a:endParaRPr>
            </a:p>
          </p:txBody>
        </p:sp>
      </p:grpSp>
      <p:pic>
        <p:nvPicPr>
          <p:cNvPr id="226" name="Google Shape;226;g143519c7921_0_20" descr="新規プロフィール画面で必須項目を入力し、最下部にある「送信」ボタンをタップしている画像"/>
          <p:cNvPicPr preferRelativeResize="0">
            <a:picLocks noChangeAspect="1"/>
          </p:cNvPicPr>
          <p:nvPr/>
        </p:nvPicPr>
        <p:blipFill rotWithShape="1">
          <a:blip r:embed="rId7">
            <a:alphaModFix/>
          </a:blip>
          <a:srcRect t="60106"/>
          <a:stretch/>
        </p:blipFill>
        <p:spPr>
          <a:xfrm>
            <a:off x="2943757" y="1999645"/>
            <a:ext cx="2812357"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27" name="Google Shape;227;g143519c7921_0_20"/>
          <p:cNvSpPr/>
          <p:nvPr/>
        </p:nvSpPr>
        <p:spPr>
          <a:xfrm>
            <a:off x="3019094" y="5497489"/>
            <a:ext cx="2664000" cy="50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pic>
        <p:nvPicPr>
          <p:cNvPr id="228" name="Google Shape;228;g143519c7921_0_20" descr="登録されたプロフィール一覧が表示されている画面の画像"/>
          <p:cNvPicPr preferRelativeResize="0">
            <a:picLocks noChangeAspect="1"/>
          </p:cNvPicPr>
          <p:nvPr/>
        </p:nvPicPr>
        <p:blipFill>
          <a:blip r:embed="rId8">
            <a:alphaModFix/>
          </a:blip>
          <a:stretch>
            <a:fillRect/>
          </a:stretch>
        </p:blipFill>
        <p:spPr>
          <a:xfrm>
            <a:off x="6622079" y="1991350"/>
            <a:ext cx="1911933"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1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1"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3</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プロフィール登</a:t>
            </a:r>
            <a:r>
              <a:rPr lang="ja-JP" altLang="ja-JP" sz="3200" spc="-1250" dirty="0">
                <a:latin typeface="Meiryo"/>
                <a:ea typeface="Meiryo"/>
                <a:cs typeface="Meiryo"/>
                <a:sym typeface="Meiryo"/>
              </a:rPr>
              <a:t>録</a:t>
            </a:r>
            <a:r>
              <a:rPr lang="ja-JP" altLang="en-US" sz="3200" b="0" dirty="0">
                <a:sym typeface="Meiryo"/>
              </a:rPr>
              <a:t>［</a:t>
            </a:r>
            <a:r>
              <a:rPr lang="en-US" altLang="ja-JP" sz="3200" dirty="0">
                <a:latin typeface="Meiryo"/>
                <a:ea typeface="Meiryo"/>
                <a:cs typeface="Meiryo"/>
                <a:sym typeface="Meiryo"/>
              </a:rPr>
              <a:t>2</a:t>
            </a:r>
            <a:r>
              <a:rPr lang="ja-JP" altLang="en-US" sz="3200" b="0" dirty="0">
                <a:sym typeface="Meiryo"/>
              </a:rPr>
              <a:t>］</a:t>
            </a:r>
            <a:endParaRPr kumimoji="0" lang="ja-JP" altLang="en-US" sz="3200" b="0" kern="0" dirty="0"/>
          </a:p>
        </p:txBody>
      </p:sp>
      <p:grpSp>
        <p:nvGrpSpPr>
          <p:cNvPr id="22" name="図形グループ 21"/>
          <p:cNvGrpSpPr>
            <a:grpSpLocks noChangeAspect="1"/>
          </p:cNvGrpSpPr>
          <p:nvPr/>
        </p:nvGrpSpPr>
        <p:grpSpPr>
          <a:xfrm>
            <a:off x="5820688" y="3167090"/>
            <a:ext cx="720000" cy="540000"/>
            <a:chOff x="3355262" y="5469690"/>
            <a:chExt cx="720000" cy="540000"/>
          </a:xfrm>
        </p:grpSpPr>
        <p:cxnSp>
          <p:nvCxnSpPr>
            <p:cNvPr id="23" name="カギ線コネクタ 2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26" name="図形グループ 25"/>
          <p:cNvGrpSpPr/>
          <p:nvPr/>
        </p:nvGrpSpPr>
        <p:grpSpPr>
          <a:xfrm>
            <a:off x="6476590" y="1841581"/>
            <a:ext cx="296586" cy="293005"/>
            <a:chOff x="6801905" y="3995693"/>
            <a:chExt cx="296586" cy="293005"/>
          </a:xfrm>
        </p:grpSpPr>
        <p:sp>
          <p:nvSpPr>
            <p:cNvPr id="27" name="円/楕円 26"/>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フリーフォーム 27"/>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9" name="図形グループ 28"/>
          <p:cNvGrpSpPr/>
          <p:nvPr/>
        </p:nvGrpSpPr>
        <p:grpSpPr>
          <a:xfrm>
            <a:off x="2871394" y="5340917"/>
            <a:ext cx="296586" cy="293005"/>
            <a:chOff x="5878361" y="3995693"/>
            <a:chExt cx="296586" cy="293005"/>
          </a:xfrm>
        </p:grpSpPr>
        <p:sp>
          <p:nvSpPr>
            <p:cNvPr id="30" name="円/楕円 29"/>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フリーフォーム 30"/>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8E57FD6A-338C-46A6-9B60-C14D6904EEBC}"/>
              </a:ext>
            </a:extLst>
          </p:cNvPr>
          <p:cNvGraphicFramePr>
            <a:graphicFrameLocks noChangeAspect="1"/>
          </p:cNvGraphicFramePr>
          <p:nvPr>
            <p:custDataLst>
              <p:tags r:id="rId2"/>
            </p:custDataLst>
            <p:extLst>
              <p:ext uri="{D42A27DB-BD31-4B8C-83A1-F6EECF244321}">
                <p14:modId xmlns:p14="http://schemas.microsoft.com/office/powerpoint/2010/main" val="1776614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9"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8" name="Google Shape;238;p7"/>
          <p:cNvSpPr txBox="1"/>
          <p:nvPr/>
        </p:nvSpPr>
        <p:spPr>
          <a:xfrm>
            <a:off x="316276" y="1896870"/>
            <a:ext cx="2700000" cy="3148924"/>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None/>
              <a:tabLst>
                <a:tab pos="347663" algn="l"/>
              </a:tabLst>
            </a:pPr>
            <a:r>
              <a:rPr lang="ja-JP" sz="2400" b="1" i="0" u="none" strike="noStrike" cap="none" dirty="0">
                <a:solidFill>
                  <a:srgbClr val="009650"/>
                </a:solidFill>
                <a:latin typeface="Meiryo"/>
                <a:ea typeface="Meiryo"/>
                <a:cs typeface="Meiryo"/>
                <a:sym typeface="Meiryo"/>
              </a:rPr>
              <a:t>❶</a:t>
            </a:r>
            <a:r>
              <a:rPr lang="en-US" altLang="ja-JP" sz="1800" b="1" i="0" u="none" strike="noStrike" cap="none"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アカウント画面</a:t>
            </a:r>
            <a:endParaRPr sz="1800" b="1" dirty="0">
              <a:solidFill>
                <a:schemeClr val="dk1"/>
              </a:solidFill>
              <a:latin typeface="Meiryo"/>
              <a:ea typeface="Meiryo"/>
              <a:cs typeface="Meiryo"/>
              <a:sym typeface="Meiryo"/>
            </a:endParaRPr>
          </a:p>
          <a:p>
            <a:pPr marL="9525" lvl="0" algn="l" rtl="0">
              <a:spcBef>
                <a:spcPts val="0"/>
              </a:spcBef>
              <a:spcAft>
                <a:spcPts val="0"/>
              </a:spcAft>
              <a:buClr>
                <a:schemeClr val="dk1"/>
              </a:buClr>
              <a:buFont typeface="Arial"/>
              <a:buNone/>
              <a:tabLst>
                <a:tab pos="347663" algn="l"/>
              </a:tabLst>
            </a:pPr>
            <a:r>
              <a:rPr lang="ja-JP" sz="1800" b="1">
                <a:solidFill>
                  <a:schemeClr val="dk1"/>
                </a:solidFill>
                <a:latin typeface="Meiryo"/>
                <a:ea typeface="Meiryo"/>
                <a:cs typeface="Meiryo"/>
                <a:sym typeface="Meiryo"/>
              </a:rPr>
              <a:t>　</a:t>
            </a:r>
            <a:r>
              <a:rPr lang="en-US" altLang="ja-JP" sz="1800" b="1">
                <a:solidFill>
                  <a:schemeClr val="dk1"/>
                </a:solidFill>
                <a:latin typeface="Meiryo"/>
                <a:ea typeface="Meiryo"/>
                <a:cs typeface="Meiryo"/>
                <a:sym typeface="Meiryo"/>
              </a:rPr>
              <a:t>	</a:t>
            </a:r>
            <a:r>
              <a:rPr lang="ja-JP" sz="1800" b="1">
                <a:solidFill>
                  <a:schemeClr val="dk1"/>
                </a:solidFill>
                <a:latin typeface="Meiryo"/>
                <a:ea typeface="Meiryo"/>
                <a:cs typeface="Meiryo"/>
                <a:sym typeface="Meiryo"/>
              </a:rPr>
              <a:t>から</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設定</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a:t>
            </a:r>
            <a:endParaRPr sz="1800" b="1" dirty="0">
              <a:solidFill>
                <a:schemeClr val="dk1"/>
              </a:solidFill>
              <a:latin typeface="Meiryo"/>
              <a:ea typeface="Meiryo"/>
              <a:cs typeface="Meiryo"/>
              <a:sym typeface="Meiryo"/>
            </a:endParaRPr>
          </a:p>
          <a:p>
            <a:pPr marL="9525" lvl="0" algn="l" rtl="0">
              <a:spcBef>
                <a:spcPts val="0"/>
              </a:spcBef>
              <a:spcAft>
                <a:spcPts val="0"/>
              </a:spcAft>
              <a:buClr>
                <a:schemeClr val="dk1"/>
              </a:buClr>
              <a:buFont typeface="Arial"/>
              <a:buNone/>
              <a:tabLst>
                <a:tab pos="347663" algn="l"/>
              </a:tabLst>
            </a:pPr>
            <a:r>
              <a:rPr lang="ja-JP" sz="1800" b="1" dirty="0">
                <a:solidFill>
                  <a:schemeClr val="dk1"/>
                </a:solidFill>
                <a:latin typeface="Meiryo"/>
                <a:ea typeface="Meiryo"/>
                <a:cs typeface="Meiryo"/>
                <a:sym typeface="Meiryo"/>
              </a:rPr>
              <a:t>　</a:t>
            </a: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タップ</a:t>
            </a:r>
            <a:endParaRPr sz="1800" b="1"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sz="2400" b="1" i="0" u="none" strike="noStrike" cap="none" dirty="0">
                <a:solidFill>
                  <a:srgbClr val="009650"/>
                </a:solidFill>
                <a:latin typeface="Meiryo"/>
                <a:ea typeface="Meiryo"/>
                <a:cs typeface="Meiryo"/>
                <a:sym typeface="Meiryo"/>
              </a:rPr>
              <a:t>❷</a:t>
            </a:r>
            <a:r>
              <a:rPr lang="en-US" altLang="ja-JP" sz="1800" b="1" i="0" u="none" strike="noStrike" cap="none" dirty="0">
                <a:solidFill>
                  <a:srgbClr val="009650"/>
                </a:solidFill>
                <a:latin typeface="Meiryo"/>
                <a:ea typeface="Meiryo"/>
                <a:cs typeface="Meiryo"/>
                <a:sym typeface="Meiryo"/>
              </a:rPr>
              <a:t>	</a:t>
            </a:r>
            <a:r>
              <a:rPr lang="ja-JP" sz="1800" b="1">
                <a:solidFill>
                  <a:schemeClr val="dk1"/>
                </a:solidFill>
                <a:latin typeface="Meiryo"/>
                <a:ea typeface="Meiryo"/>
                <a:cs typeface="Meiryo"/>
                <a:sym typeface="Meiryo"/>
              </a:rPr>
              <a:t>設定から</a:t>
            </a:r>
            <a:endParaRPr lang="en-US" altLang="ja-JP" sz="1800" b="1">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en-US" altLang="ja-JP" sz="1800" b="1">
                <a:solidFill>
                  <a:schemeClr val="dk1"/>
                </a:solidFill>
                <a:latin typeface="Meiryo"/>
                <a:ea typeface="Meiryo"/>
                <a:cs typeface="Meiryo"/>
                <a:sym typeface="Meiryo"/>
              </a:rPr>
              <a:t>	｢</a:t>
            </a:r>
            <a:r>
              <a:rPr lang="ja-JP" sz="1800" b="1">
                <a:solidFill>
                  <a:schemeClr val="dk1"/>
                </a:solidFill>
                <a:latin typeface="Meiryo"/>
                <a:ea typeface="Meiryo"/>
                <a:cs typeface="Meiryo"/>
                <a:sym typeface="Meiryo"/>
              </a:rPr>
              <a:t>クレジ</a:t>
            </a:r>
            <a:r>
              <a:rPr lang="ja-JP" sz="1800" b="1" dirty="0">
                <a:solidFill>
                  <a:schemeClr val="dk1"/>
                </a:solidFill>
                <a:latin typeface="Meiryo"/>
                <a:ea typeface="Meiryo"/>
                <a:cs typeface="Meiryo"/>
                <a:sym typeface="Meiryo"/>
              </a:rPr>
              <a:t>ット</a:t>
            </a:r>
            <a:endParaRPr lang="en-US" altLang="ja-JP" sz="1800" b="1"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カード情報</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a:t>
            </a:r>
            <a:endParaRPr lang="en-US" altLang="ja-JP" sz="1800" b="1"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タップ</a:t>
            </a:r>
            <a:endParaRPr sz="1800" b="1" dirty="0">
              <a:solidFill>
                <a:schemeClr val="dk1"/>
              </a:solidFill>
              <a:latin typeface="Meiryo"/>
              <a:ea typeface="Meiryo"/>
              <a:cs typeface="Meiryo"/>
              <a:sym typeface="Meiryo"/>
            </a:endParaRPr>
          </a:p>
          <a:p>
            <a:pPr marL="9525" marR="4343" lvl="0" algn="l" rtl="0">
              <a:spcBef>
                <a:spcPts val="85"/>
              </a:spcBef>
              <a:spcAft>
                <a:spcPts val="0"/>
              </a:spcAft>
              <a:buClr>
                <a:schemeClr val="dk1"/>
              </a:buClr>
              <a:buSzPts val="2400"/>
              <a:buFont typeface="Arial"/>
              <a:buNone/>
              <a:tabLst>
                <a:tab pos="347663" algn="l"/>
              </a:tabLst>
            </a:pPr>
            <a:r>
              <a:rPr lang="ja-JP" sz="2400" b="1">
                <a:solidFill>
                  <a:srgbClr val="009650"/>
                </a:solidFill>
                <a:latin typeface="Meiryo"/>
                <a:ea typeface="Meiryo"/>
                <a:cs typeface="Meiryo"/>
                <a:sym typeface="Meiryo"/>
              </a:rPr>
              <a:t>❸</a:t>
            </a:r>
            <a:r>
              <a:rPr lang="en-US" altLang="ja-JP" sz="1800" b="1">
                <a:solidFill>
                  <a:srgbClr val="009650"/>
                </a:solidFill>
                <a:latin typeface="Meiryo"/>
                <a:ea typeface="Meiryo"/>
                <a:cs typeface="Meiryo"/>
                <a:sym typeface="Meiryo"/>
              </a:rPr>
              <a:t>	</a:t>
            </a:r>
            <a:r>
              <a:rPr lang="en-US" altLang="ja-JP" sz="1800" b="1">
                <a:solidFill>
                  <a:schemeClr val="dk1"/>
                </a:solidFill>
                <a:latin typeface="Meiryo"/>
                <a:ea typeface="Meiryo"/>
                <a:cs typeface="Meiryo"/>
                <a:sym typeface="Meiryo"/>
              </a:rPr>
              <a:t>｢</a:t>
            </a:r>
            <a:r>
              <a:rPr lang="ja-JP" sz="1800" b="1">
                <a:solidFill>
                  <a:schemeClr val="dk1"/>
                </a:solidFill>
                <a:latin typeface="Meiryo"/>
                <a:ea typeface="Meiryo"/>
                <a:cs typeface="Meiryo"/>
                <a:sym typeface="Meiryo"/>
              </a:rPr>
              <a:t>クレジット</a:t>
            </a:r>
            <a:endParaRPr lang="en-US" altLang="ja-JP" sz="1800" b="1">
              <a:solidFill>
                <a:schemeClr val="dk1"/>
              </a:solidFill>
              <a:latin typeface="Meiryo"/>
              <a:ea typeface="Meiryo"/>
              <a:cs typeface="Meiryo"/>
              <a:sym typeface="Meiryo"/>
            </a:endParaRPr>
          </a:p>
          <a:p>
            <a:pPr marL="9525" marR="4343" lvl="0" algn="l" rtl="0">
              <a:spcBef>
                <a:spcPts val="85"/>
              </a:spcBef>
              <a:spcAft>
                <a:spcPts val="0"/>
              </a:spcAft>
              <a:buClr>
                <a:schemeClr val="dk1"/>
              </a:buClr>
              <a:buSzPts val="2400"/>
              <a:buFont typeface="Arial"/>
              <a:buNone/>
              <a:tabLst>
                <a:tab pos="347663" algn="l"/>
              </a:tabLst>
            </a:pPr>
            <a:r>
              <a:rPr lang="en-US" altLang="ja-JP" sz="1800" b="1">
                <a:solidFill>
                  <a:schemeClr val="dk1"/>
                </a:solidFill>
                <a:latin typeface="Meiryo"/>
                <a:ea typeface="Meiryo"/>
                <a:cs typeface="Meiryo"/>
                <a:sym typeface="Meiryo"/>
              </a:rPr>
              <a:t>	</a:t>
            </a:r>
            <a:r>
              <a:rPr lang="ja-JP" sz="1800" b="1">
                <a:solidFill>
                  <a:schemeClr val="dk1"/>
                </a:solidFill>
                <a:latin typeface="Meiryo"/>
                <a:ea typeface="Meiryo"/>
                <a:cs typeface="Meiryo"/>
                <a:sym typeface="Meiryo"/>
              </a:rPr>
              <a:t>カー</a:t>
            </a:r>
            <a:r>
              <a:rPr lang="ja-JP" sz="1800" b="1" dirty="0">
                <a:solidFill>
                  <a:schemeClr val="dk1"/>
                </a:solidFill>
                <a:latin typeface="Meiryo"/>
                <a:ea typeface="Meiryo"/>
                <a:cs typeface="Meiryo"/>
                <a:sym typeface="Meiryo"/>
              </a:rPr>
              <a:t>ドを追加</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a:t>
            </a:r>
            <a:endParaRPr lang="en-US" altLang="ja-JP" sz="1800" b="1" dirty="0">
              <a:solidFill>
                <a:schemeClr val="dk1"/>
              </a:solidFill>
              <a:latin typeface="Meiryo"/>
              <a:ea typeface="Meiryo"/>
              <a:cs typeface="Meiryo"/>
              <a:sym typeface="Meiryo"/>
            </a:endParaRPr>
          </a:p>
          <a:p>
            <a:pPr marL="9525" marR="4343" lvl="0" algn="l" rtl="0">
              <a:spcBef>
                <a:spcPts val="85"/>
              </a:spcBef>
              <a:spcAft>
                <a:spcPts val="0"/>
              </a:spcAft>
              <a:buClr>
                <a:schemeClr val="dk1"/>
              </a:buClr>
              <a:buSzPts val="2400"/>
              <a:buFont typeface="Arial"/>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タップ</a:t>
            </a:r>
            <a:endParaRPr sz="2400" b="1" dirty="0">
              <a:solidFill>
                <a:srgbClr val="009650"/>
              </a:solidFill>
              <a:latin typeface="Meiryo"/>
              <a:ea typeface="Meiryo"/>
              <a:cs typeface="Meiryo"/>
              <a:sym typeface="Meiryo"/>
            </a:endParaRPr>
          </a:p>
        </p:txBody>
      </p:sp>
      <p:grpSp>
        <p:nvGrpSpPr>
          <p:cNvPr id="243" name="Google Shape;243;p7"/>
          <p:cNvGrpSpPr/>
          <p:nvPr/>
        </p:nvGrpSpPr>
        <p:grpSpPr>
          <a:xfrm>
            <a:off x="2774220" y="2601135"/>
            <a:ext cx="441147" cy="400110"/>
            <a:chOff x="3501100" y="4812902"/>
            <a:chExt cx="441147" cy="400110"/>
          </a:xfrm>
        </p:grpSpPr>
        <p:sp>
          <p:nvSpPr>
            <p:cNvPr id="244" name="Google Shape;244;p7"/>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45" name="Google Shape;245;p7"/>
            <p:cNvSpPr/>
            <p:nvPr/>
          </p:nvSpPr>
          <p:spPr>
            <a:xfrm>
              <a:off x="3501100" y="4812902"/>
              <a:ext cx="441147"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endParaRPr sz="2000" b="1" i="0" u="none" strike="noStrike" cap="none">
                <a:solidFill>
                  <a:srgbClr val="009650"/>
                </a:solidFill>
                <a:latin typeface="Meiryo"/>
                <a:ea typeface="Meiryo"/>
                <a:cs typeface="Meiryo"/>
                <a:sym typeface="Meiryo"/>
              </a:endParaRPr>
            </a:p>
          </p:txBody>
        </p:sp>
      </p:grpSp>
      <p:grpSp>
        <p:nvGrpSpPr>
          <p:cNvPr id="246" name="Google Shape;246;p7"/>
          <p:cNvGrpSpPr/>
          <p:nvPr/>
        </p:nvGrpSpPr>
        <p:grpSpPr>
          <a:xfrm>
            <a:off x="4897620" y="2885737"/>
            <a:ext cx="441147" cy="400110"/>
            <a:chOff x="3501100" y="4812902"/>
            <a:chExt cx="441147" cy="400110"/>
          </a:xfrm>
        </p:grpSpPr>
        <p:sp>
          <p:nvSpPr>
            <p:cNvPr id="247" name="Google Shape;247;p7"/>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48" name="Google Shape;248;p7"/>
            <p:cNvSpPr/>
            <p:nvPr/>
          </p:nvSpPr>
          <p:spPr>
            <a:xfrm>
              <a:off x="3501100" y="4812902"/>
              <a:ext cx="441147"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endParaRPr sz="2000" b="1" i="0" u="none" strike="noStrike" cap="none">
                <a:solidFill>
                  <a:srgbClr val="009650"/>
                </a:solidFill>
                <a:latin typeface="Meiryo"/>
                <a:ea typeface="Meiryo"/>
                <a:cs typeface="Meiryo"/>
                <a:sym typeface="Meiryo"/>
              </a:endParaRPr>
            </a:p>
          </p:txBody>
        </p:sp>
      </p:grpSp>
      <p:pic>
        <p:nvPicPr>
          <p:cNvPr id="254" name="Google Shape;254;p7" descr="設定画面で「クレジットカード情報」をタップしている画像"/>
          <p:cNvPicPr preferRelativeResize="0">
            <a:picLocks noChangeAspect="1"/>
          </p:cNvPicPr>
          <p:nvPr/>
        </p:nvPicPr>
        <p:blipFill>
          <a:blip r:embed="rId7">
            <a:alphaModFix/>
          </a:blip>
          <a:stretch>
            <a:fillRect/>
          </a:stretch>
        </p:blipFill>
        <p:spPr>
          <a:xfrm>
            <a:off x="4759254" y="1994945"/>
            <a:ext cx="1622475" cy="3513138"/>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255" name="Google Shape;255;p7" descr="アカウント画面の「設定」をタップしている画像"/>
          <p:cNvPicPr preferRelativeResize="0">
            <a:picLocks noChangeAspect="1"/>
          </p:cNvPicPr>
          <p:nvPr/>
        </p:nvPicPr>
        <p:blipFill>
          <a:blip r:embed="rId8">
            <a:alphaModFix/>
          </a:blip>
          <a:stretch>
            <a:fillRect/>
          </a:stretch>
        </p:blipFill>
        <p:spPr>
          <a:xfrm>
            <a:off x="2601568" y="1994945"/>
            <a:ext cx="1620000" cy="4078017"/>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56" name="Google Shape;256;p7"/>
          <p:cNvSpPr/>
          <p:nvPr/>
        </p:nvSpPr>
        <p:spPr>
          <a:xfrm>
            <a:off x="2625885" y="4078193"/>
            <a:ext cx="1548000"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58" name="Google Shape;258;p7"/>
          <p:cNvSpPr/>
          <p:nvPr/>
        </p:nvSpPr>
        <p:spPr>
          <a:xfrm>
            <a:off x="4791818" y="2949397"/>
            <a:ext cx="1548000" cy="25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pic>
        <p:nvPicPr>
          <p:cNvPr id="260" name="Google Shape;260;p7" descr="クレジットカード情報画面で「クレジットカードを追加」をタップしている画像"/>
          <p:cNvPicPr preferRelativeResize="0">
            <a:picLocks noChangeAspect="1"/>
          </p:cNvPicPr>
          <p:nvPr/>
        </p:nvPicPr>
        <p:blipFill>
          <a:blip r:embed="rId9">
            <a:alphaModFix/>
          </a:blip>
          <a:stretch>
            <a:fillRect/>
          </a:stretch>
        </p:blipFill>
        <p:spPr>
          <a:xfrm>
            <a:off x="6915517" y="1994945"/>
            <a:ext cx="1622475" cy="3513199"/>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61" name="Google Shape;261;p7"/>
          <p:cNvSpPr/>
          <p:nvPr/>
        </p:nvSpPr>
        <p:spPr>
          <a:xfrm>
            <a:off x="6943152" y="3044037"/>
            <a:ext cx="1548000"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9" name="Google Shape;227;g143519c7921_0_20">
            <a:extLst>
              <a:ext uri="{FF2B5EF4-FFF2-40B4-BE49-F238E27FC236}">
                <a16:creationId xmlns:a16="http://schemas.microsoft.com/office/drawing/2014/main" id="{7BE031CD-047F-451F-8D04-CF8BEFA1F9BE}"/>
              </a:ext>
            </a:extLst>
          </p:cNvPr>
          <p:cNvSpPr/>
          <p:nvPr/>
        </p:nvSpPr>
        <p:spPr>
          <a:xfrm>
            <a:off x="3810438" y="5814147"/>
            <a:ext cx="432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32"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4</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クレジットカード情報の入</a:t>
            </a:r>
            <a:r>
              <a:rPr lang="ja-JP" altLang="ja-JP" sz="3200" spc="-1250" dirty="0">
                <a:latin typeface="Meiryo"/>
                <a:ea typeface="Meiryo"/>
                <a:cs typeface="Meiryo"/>
                <a:sym typeface="Meiryo"/>
              </a:rPr>
              <a:t>力</a:t>
            </a:r>
            <a:r>
              <a:rPr lang="ja-JP" altLang="en-US" sz="3200" b="0" dirty="0">
                <a:sym typeface="Meiryo"/>
              </a:rPr>
              <a:t>［</a:t>
            </a:r>
            <a:r>
              <a:rPr lang="en-US" altLang="ja-JP" sz="3200" dirty="0">
                <a:latin typeface="Meiryo"/>
                <a:ea typeface="Meiryo"/>
                <a:cs typeface="Meiryo"/>
                <a:sym typeface="Meiryo"/>
              </a:rPr>
              <a:t>1</a:t>
            </a:r>
            <a:r>
              <a:rPr lang="ja-JP" altLang="en-US" sz="3200" b="0" dirty="0">
                <a:sym typeface="Meiryo"/>
              </a:rPr>
              <a:t>］</a:t>
            </a:r>
            <a:endParaRPr kumimoji="0" lang="ja-JP" altLang="en-US" sz="3200" b="0" kern="0" dirty="0"/>
          </a:p>
        </p:txBody>
      </p:sp>
      <p:grpSp>
        <p:nvGrpSpPr>
          <p:cNvPr id="37" name="図形グループ 36"/>
          <p:cNvGrpSpPr>
            <a:grpSpLocks noChangeAspect="1"/>
          </p:cNvGrpSpPr>
          <p:nvPr/>
        </p:nvGrpSpPr>
        <p:grpSpPr>
          <a:xfrm>
            <a:off x="4310195" y="3304349"/>
            <a:ext cx="360000" cy="270000"/>
            <a:chOff x="3355262" y="5469690"/>
            <a:chExt cx="720000" cy="540000"/>
          </a:xfrm>
        </p:grpSpPr>
        <p:cxnSp>
          <p:nvCxnSpPr>
            <p:cNvPr id="38" name="カギ線コネクタ 37"/>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40" name="図形グループ 39"/>
          <p:cNvGrpSpPr>
            <a:grpSpLocks noChangeAspect="1"/>
          </p:cNvGrpSpPr>
          <p:nvPr/>
        </p:nvGrpSpPr>
        <p:grpSpPr>
          <a:xfrm>
            <a:off x="6476038" y="3304349"/>
            <a:ext cx="360000" cy="270000"/>
            <a:chOff x="3355262" y="5469690"/>
            <a:chExt cx="720000" cy="540000"/>
          </a:xfrm>
        </p:grpSpPr>
        <p:cxnSp>
          <p:nvCxnSpPr>
            <p:cNvPr id="41" name="カギ線コネクタ 40"/>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43" name="図形グループ 42"/>
          <p:cNvGrpSpPr/>
          <p:nvPr/>
        </p:nvGrpSpPr>
        <p:grpSpPr>
          <a:xfrm>
            <a:off x="6808585" y="2896651"/>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6" name="図形グループ 45"/>
          <p:cNvGrpSpPr/>
          <p:nvPr/>
        </p:nvGrpSpPr>
        <p:grpSpPr>
          <a:xfrm>
            <a:off x="4654470" y="2799939"/>
            <a:ext cx="296586" cy="293005"/>
            <a:chOff x="3546641" y="3995693"/>
            <a:chExt cx="296586" cy="293005"/>
          </a:xfrm>
        </p:grpSpPr>
        <p:sp>
          <p:nvSpPr>
            <p:cNvPr id="47" name="円/楕円 4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フリーフォーム 4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9" name="図形グループ 48"/>
          <p:cNvGrpSpPr/>
          <p:nvPr/>
        </p:nvGrpSpPr>
        <p:grpSpPr>
          <a:xfrm>
            <a:off x="2484178" y="3934149"/>
            <a:ext cx="296587" cy="293005"/>
            <a:chOff x="2897417" y="3995693"/>
            <a:chExt cx="296587" cy="293005"/>
          </a:xfrm>
        </p:grpSpPr>
        <p:sp>
          <p:nvSpPr>
            <p:cNvPr id="50" name="円/楕円 4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テキスト ボックス 5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67"/>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329E2D3-49A2-441A-96AE-7DD4A9862A82}"/>
              </a:ext>
            </a:extLst>
          </p:cNvPr>
          <p:cNvGraphicFramePr>
            <a:graphicFrameLocks noChangeAspect="1"/>
          </p:cNvGraphicFramePr>
          <p:nvPr>
            <p:custDataLst>
              <p:tags r:id="rId2"/>
            </p:custDataLst>
            <p:extLst>
              <p:ext uri="{D42A27DB-BD31-4B8C-83A1-F6EECF244321}">
                <p14:modId xmlns:p14="http://schemas.microsoft.com/office/powerpoint/2010/main" val="3665567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7"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9" name="Google Shape;269;g143519c7921_0_87"/>
          <p:cNvSpPr txBox="1"/>
          <p:nvPr/>
        </p:nvSpPr>
        <p:spPr>
          <a:xfrm>
            <a:off x="316276" y="1907144"/>
            <a:ext cx="1897524" cy="3059156"/>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None/>
              <a:tabLst>
                <a:tab pos="347663" algn="l"/>
              </a:tabLst>
            </a:pPr>
            <a:r>
              <a:rPr lang="ja-JP" sz="2400" b="1" dirty="0">
                <a:solidFill>
                  <a:srgbClr val="009650"/>
                </a:solidFill>
                <a:latin typeface="Meiryo"/>
                <a:ea typeface="Meiryo"/>
                <a:cs typeface="Meiryo"/>
                <a:sym typeface="Meiryo"/>
              </a:rPr>
              <a:t>❹</a:t>
            </a:r>
            <a:r>
              <a:rPr lang="en-US" altLang="ja-JP" sz="2400" b="1"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クレジット</a:t>
            </a:r>
            <a:endParaRPr lang="en-US" altLang="ja-JP" sz="1800" b="1" dirty="0">
              <a:solidFill>
                <a:schemeClr val="dk1"/>
              </a:solidFill>
              <a:latin typeface="Meiryo"/>
              <a:ea typeface="Meiryo"/>
              <a:cs typeface="Meiryo"/>
              <a:sym typeface="Meiryo"/>
            </a:endParaRPr>
          </a:p>
          <a:p>
            <a:pPr marL="9525" marR="0" lvl="0" algn="l" rtl="0">
              <a:spcBef>
                <a:spcPts val="0"/>
              </a:spcBef>
              <a:spcAft>
                <a:spcPts val="0"/>
              </a:spcAft>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カード情報を</a:t>
            </a:r>
            <a:endParaRPr lang="en-US" altLang="ja-JP" sz="1800" b="1" dirty="0">
              <a:solidFill>
                <a:schemeClr val="dk1"/>
              </a:solidFill>
              <a:latin typeface="Meiryo"/>
              <a:ea typeface="Meiryo"/>
              <a:cs typeface="Meiryo"/>
              <a:sym typeface="Meiryo"/>
            </a:endParaRPr>
          </a:p>
          <a:p>
            <a:pPr marL="9525" marR="0" lvl="0" algn="l" rtl="0">
              <a:spcBef>
                <a:spcPts val="0"/>
              </a:spcBef>
              <a:spcAft>
                <a:spcPts val="0"/>
              </a:spcAft>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入力する</a:t>
            </a:r>
            <a:endParaRPr sz="1800" b="1" dirty="0">
              <a:solidFill>
                <a:schemeClr val="dk1"/>
              </a:solidFill>
              <a:latin typeface="Meiryo"/>
              <a:ea typeface="Meiryo"/>
              <a:cs typeface="Meiryo"/>
              <a:sym typeface="Meiryo"/>
            </a:endParaRPr>
          </a:p>
          <a:p>
            <a:pPr marL="9525" marR="0" lvl="0" algn="l" rtl="0">
              <a:spcBef>
                <a:spcPts val="0"/>
              </a:spcBef>
              <a:spcAft>
                <a:spcPts val="0"/>
              </a:spcAft>
              <a:buNone/>
              <a:tabLst>
                <a:tab pos="347663" algn="l"/>
              </a:tabLst>
            </a:pPr>
            <a:r>
              <a:rPr lang="ja-JP" sz="2400" b="1" dirty="0">
                <a:solidFill>
                  <a:srgbClr val="009650"/>
                </a:solidFill>
                <a:latin typeface="Meiryo"/>
                <a:ea typeface="Meiryo"/>
                <a:cs typeface="Meiryo"/>
                <a:sym typeface="Meiryo"/>
              </a:rPr>
              <a:t>❺</a:t>
            </a:r>
            <a:r>
              <a:rPr lang="en-US" altLang="ja-JP" sz="2400" b="1"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入力後</a:t>
            </a:r>
            <a:r>
              <a:rPr lang="ja-JP" altLang="en-US" sz="1800" b="1" dirty="0">
                <a:solidFill>
                  <a:schemeClr val="dk1"/>
                </a:solidFill>
                <a:latin typeface="Meiryo"/>
                <a:ea typeface="Meiryo"/>
                <a:cs typeface="Meiryo"/>
                <a:sym typeface="Meiryo"/>
              </a:rPr>
              <a:t>、</a:t>
            </a:r>
            <a:endParaRPr lang="en-US" altLang="ja-JP" sz="1800" b="1" dirty="0">
              <a:solidFill>
                <a:schemeClr val="dk1"/>
              </a:solidFill>
              <a:latin typeface="Meiryo"/>
              <a:ea typeface="Meiryo"/>
              <a:cs typeface="Meiryo"/>
              <a:sym typeface="Meiryo"/>
            </a:endParaRPr>
          </a:p>
          <a:p>
            <a:pPr marL="9525" marR="0" lvl="0" algn="l" rtl="0">
              <a:spcBef>
                <a:spcPts val="0"/>
              </a:spcBef>
              <a:spcAft>
                <a:spcPts val="0"/>
              </a:spcAft>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登録</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ボタン</a:t>
            </a:r>
            <a:endParaRPr lang="en-US" altLang="ja-JP" sz="1800" b="1" dirty="0">
              <a:solidFill>
                <a:schemeClr val="dk1"/>
              </a:solidFill>
              <a:latin typeface="Meiryo"/>
              <a:ea typeface="Meiryo"/>
              <a:cs typeface="Meiryo"/>
              <a:sym typeface="Meiryo"/>
            </a:endParaRPr>
          </a:p>
          <a:p>
            <a:pPr marL="9525" marR="0" lvl="0" algn="l" rtl="0">
              <a:spcBef>
                <a:spcPts val="0"/>
              </a:spcBef>
              <a:spcAft>
                <a:spcPts val="0"/>
              </a:spcAft>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をタップ</a:t>
            </a:r>
            <a:endParaRPr sz="1800" b="1" dirty="0">
              <a:solidFill>
                <a:schemeClr val="dk1"/>
              </a:solidFill>
              <a:latin typeface="Meiryo"/>
              <a:ea typeface="Meiryo"/>
              <a:cs typeface="Meiryo"/>
              <a:sym typeface="Meiryo"/>
            </a:endParaRPr>
          </a:p>
          <a:p>
            <a:pPr marL="9525" lvl="0" algn="l" rtl="0">
              <a:spcBef>
                <a:spcPts val="0"/>
              </a:spcBef>
              <a:spcAft>
                <a:spcPts val="0"/>
              </a:spcAft>
              <a:buNone/>
              <a:tabLst>
                <a:tab pos="347663" algn="l"/>
              </a:tabLst>
            </a:pPr>
            <a:r>
              <a:rPr lang="ja-JP" sz="2400" b="1" dirty="0">
                <a:solidFill>
                  <a:srgbClr val="009650"/>
                </a:solidFill>
                <a:latin typeface="Meiryo"/>
                <a:ea typeface="Meiryo"/>
                <a:cs typeface="Meiryo"/>
                <a:sym typeface="Meiryo"/>
              </a:rPr>
              <a:t>❻</a:t>
            </a:r>
            <a:r>
              <a:rPr lang="en-US" altLang="ja-JP" sz="2400" b="1" dirty="0">
                <a:solidFill>
                  <a:srgbClr val="009650"/>
                </a:solidFill>
                <a:latin typeface="Meiryo"/>
                <a:ea typeface="Meiryo"/>
                <a:cs typeface="Meiryo"/>
                <a:sym typeface="Meiryo"/>
              </a:rPr>
              <a:t>	</a:t>
            </a:r>
            <a:r>
              <a:rPr lang="ja-JP" altLang="en-US" sz="1800" b="1" dirty="0">
                <a:solidFill>
                  <a:schemeClr val="tx1"/>
                </a:solidFill>
                <a:latin typeface="Meiryo"/>
                <a:ea typeface="Meiryo"/>
                <a:cs typeface="Meiryo"/>
                <a:sym typeface="Meiryo"/>
              </a:rPr>
              <a:t>クレジット</a:t>
            </a:r>
            <a:endParaRPr lang="en-US" altLang="ja-JP" sz="1800" b="1" dirty="0">
              <a:solidFill>
                <a:schemeClr val="tx1"/>
              </a:solidFill>
              <a:latin typeface="Meiryo"/>
              <a:ea typeface="Meiryo"/>
              <a:cs typeface="Meiryo"/>
              <a:sym typeface="Meiryo"/>
            </a:endParaRPr>
          </a:p>
          <a:p>
            <a:pPr marL="9525" lvl="0" algn="l" rtl="0">
              <a:spcBef>
                <a:spcPts val="0"/>
              </a:spcBef>
              <a:spcAft>
                <a:spcPts val="0"/>
              </a:spcAft>
              <a:buNone/>
              <a:tabLst>
                <a:tab pos="347663" algn="l"/>
              </a:tabLst>
            </a:pPr>
            <a:r>
              <a:rPr lang="en-US" altLang="ja-JP" sz="1800" b="1" dirty="0">
                <a:solidFill>
                  <a:schemeClr val="tx1"/>
                </a:solidFill>
                <a:latin typeface="Meiryo"/>
                <a:ea typeface="Meiryo"/>
                <a:cs typeface="Meiryo"/>
                <a:sym typeface="Meiryo"/>
              </a:rPr>
              <a:t>	</a:t>
            </a:r>
            <a:r>
              <a:rPr lang="ja-JP" altLang="en-US" sz="1800" b="1" dirty="0">
                <a:solidFill>
                  <a:schemeClr val="tx1"/>
                </a:solidFill>
                <a:latin typeface="Meiryo"/>
                <a:ea typeface="Meiryo"/>
                <a:cs typeface="Meiryo"/>
                <a:sym typeface="Meiryo"/>
              </a:rPr>
              <a:t>カード情報の</a:t>
            </a:r>
            <a:endParaRPr lang="en-US" altLang="ja-JP" sz="1800" b="1" dirty="0">
              <a:solidFill>
                <a:schemeClr val="tx1"/>
              </a:solidFill>
              <a:latin typeface="Meiryo"/>
              <a:ea typeface="Meiryo"/>
              <a:cs typeface="Meiryo"/>
              <a:sym typeface="Meiryo"/>
            </a:endParaRPr>
          </a:p>
          <a:p>
            <a:pPr marL="9525" lvl="0" algn="l" rtl="0">
              <a:spcBef>
                <a:spcPts val="0"/>
              </a:spcBef>
              <a:spcAft>
                <a:spcPts val="0"/>
              </a:spcAft>
              <a:buNone/>
              <a:tabLst>
                <a:tab pos="347663" algn="l"/>
              </a:tabLst>
            </a:pPr>
            <a:r>
              <a:rPr lang="en-US" altLang="ja-JP" sz="1800" b="1" dirty="0">
                <a:solidFill>
                  <a:schemeClr val="tx1"/>
                </a:solidFill>
                <a:latin typeface="Meiryo"/>
                <a:ea typeface="Meiryo"/>
                <a:cs typeface="Meiryo"/>
                <a:sym typeface="Meiryo"/>
              </a:rPr>
              <a:t>	</a:t>
            </a:r>
            <a:r>
              <a:rPr lang="ja-JP" sz="1800" b="1" dirty="0">
                <a:solidFill>
                  <a:schemeClr val="dk1"/>
                </a:solidFill>
                <a:latin typeface="Meiryo"/>
                <a:ea typeface="Meiryo"/>
                <a:cs typeface="Meiryo"/>
                <a:sym typeface="Meiryo"/>
              </a:rPr>
              <a:t>登録</a:t>
            </a:r>
            <a:r>
              <a:rPr lang="ja-JP" altLang="en-US" sz="1800" b="1" dirty="0">
                <a:solidFill>
                  <a:schemeClr val="dk1"/>
                </a:solidFill>
                <a:latin typeface="Meiryo"/>
                <a:ea typeface="Meiryo"/>
                <a:cs typeface="Meiryo"/>
                <a:sym typeface="Meiryo"/>
              </a:rPr>
              <a:t>は</a:t>
            </a:r>
            <a:endParaRPr lang="en-US" altLang="ja-JP" sz="1800" b="1" dirty="0">
              <a:solidFill>
                <a:schemeClr val="dk1"/>
              </a:solidFill>
              <a:latin typeface="Meiryo"/>
              <a:ea typeface="Meiryo"/>
              <a:cs typeface="Meiryo"/>
              <a:sym typeface="Meiryo"/>
            </a:endParaRPr>
          </a:p>
          <a:p>
            <a:pPr marL="9525" lvl="0" algn="l" rtl="0">
              <a:spcBef>
                <a:spcPts val="0"/>
              </a:spcBef>
              <a:spcAft>
                <a:spcPts val="0"/>
              </a:spcAft>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完了です。</a:t>
            </a:r>
            <a:endParaRPr sz="2400" b="1" dirty="0">
              <a:solidFill>
                <a:srgbClr val="009650"/>
              </a:solidFill>
              <a:latin typeface="Meiryo"/>
              <a:ea typeface="Meiryo"/>
              <a:cs typeface="Meiryo"/>
              <a:sym typeface="Meiryo"/>
            </a:endParaRPr>
          </a:p>
        </p:txBody>
      </p:sp>
      <p:grpSp>
        <p:nvGrpSpPr>
          <p:cNvPr id="274" name="Google Shape;274;g143519c7921_0_87"/>
          <p:cNvGrpSpPr/>
          <p:nvPr/>
        </p:nvGrpSpPr>
        <p:grpSpPr>
          <a:xfrm>
            <a:off x="2774220" y="2601135"/>
            <a:ext cx="441000" cy="400200"/>
            <a:chOff x="3501100" y="4812902"/>
            <a:chExt cx="441000" cy="400200"/>
          </a:xfrm>
        </p:grpSpPr>
        <p:sp>
          <p:nvSpPr>
            <p:cNvPr id="275" name="Google Shape;275;g143519c7921_0_87"/>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76" name="Google Shape;276;g143519c7921_0_87"/>
            <p:cNvSpPr/>
            <p:nvPr/>
          </p:nvSpPr>
          <p:spPr>
            <a:xfrm>
              <a:off x="3501100" y="4812902"/>
              <a:ext cx="441000" cy="400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1" i="0" u="none" strike="noStrike" cap="none">
                <a:solidFill>
                  <a:srgbClr val="009650"/>
                </a:solidFill>
                <a:latin typeface="Meiryo"/>
                <a:ea typeface="Meiryo"/>
                <a:cs typeface="Meiryo"/>
                <a:sym typeface="Meiryo"/>
              </a:endParaRPr>
            </a:p>
          </p:txBody>
        </p:sp>
      </p:grpSp>
      <p:grpSp>
        <p:nvGrpSpPr>
          <p:cNvPr id="277" name="Google Shape;277;g143519c7921_0_87"/>
          <p:cNvGrpSpPr/>
          <p:nvPr/>
        </p:nvGrpSpPr>
        <p:grpSpPr>
          <a:xfrm>
            <a:off x="4897620" y="2885737"/>
            <a:ext cx="441000" cy="400200"/>
            <a:chOff x="3501100" y="4812902"/>
            <a:chExt cx="441000" cy="400200"/>
          </a:xfrm>
        </p:grpSpPr>
        <p:sp>
          <p:nvSpPr>
            <p:cNvPr id="278" name="Google Shape;278;g143519c7921_0_87"/>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79" name="Google Shape;279;g143519c7921_0_87"/>
            <p:cNvSpPr/>
            <p:nvPr/>
          </p:nvSpPr>
          <p:spPr>
            <a:xfrm>
              <a:off x="3501100" y="4812902"/>
              <a:ext cx="441000" cy="400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1" i="0" u="none" strike="noStrike" cap="none">
                <a:solidFill>
                  <a:srgbClr val="009650"/>
                </a:solidFill>
                <a:latin typeface="Meiryo"/>
                <a:ea typeface="Meiryo"/>
                <a:cs typeface="Meiryo"/>
                <a:sym typeface="Meiryo"/>
              </a:endParaRPr>
            </a:p>
          </p:txBody>
        </p:sp>
      </p:grpSp>
      <p:pic>
        <p:nvPicPr>
          <p:cNvPr id="285" name="Google Shape;285;g143519c7921_0_87" descr="クレジットカード登録画面でクレジットカード情報を入力している画像"/>
          <p:cNvPicPr preferRelativeResize="0">
            <a:picLocks noChangeAspect="1"/>
          </p:cNvPicPr>
          <p:nvPr/>
        </p:nvPicPr>
        <p:blipFill rotWithShape="1">
          <a:blip r:embed="rId7">
            <a:alphaModFix/>
          </a:blip>
          <a:srcRect t="2600" b="-2600"/>
          <a:stretch/>
        </p:blipFill>
        <p:spPr>
          <a:xfrm>
            <a:off x="2599592" y="1988216"/>
            <a:ext cx="1620000" cy="3507840"/>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286" name="Google Shape;286;g143519c7921_0_87" descr="クレジットカード登録画面でカード情報登録後、「登録」をタップしている画像"/>
          <p:cNvPicPr preferRelativeResize="0">
            <a:picLocks noChangeAspect="1"/>
          </p:cNvPicPr>
          <p:nvPr/>
        </p:nvPicPr>
        <p:blipFill>
          <a:blip r:embed="rId8">
            <a:alphaModFix/>
          </a:blip>
          <a:stretch>
            <a:fillRect/>
          </a:stretch>
        </p:blipFill>
        <p:spPr>
          <a:xfrm>
            <a:off x="4756635" y="1988216"/>
            <a:ext cx="1620000" cy="3507831"/>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287" name="Google Shape;287;g143519c7921_0_87" descr="登録したクレジットカード一覧が表示された画面の画像"/>
          <p:cNvPicPr preferRelativeResize="0">
            <a:picLocks noChangeAspect="1"/>
          </p:cNvPicPr>
          <p:nvPr/>
        </p:nvPicPr>
        <p:blipFill rotWithShape="1">
          <a:blip r:embed="rId9">
            <a:alphaModFix/>
          </a:blip>
          <a:srcRect l="-92" r="-682"/>
          <a:stretch/>
        </p:blipFill>
        <p:spPr>
          <a:xfrm>
            <a:off x="6919543" y="1988216"/>
            <a:ext cx="1613638" cy="3506400"/>
          </a:xfrm>
          <a:prstGeom prst="rect">
            <a:avLst/>
          </a:prstGeom>
          <a:noFill/>
          <a:ln w="9525">
            <a:solidFill>
              <a:schemeClr val="tx1">
                <a:lumMod val="50000"/>
                <a:lumOff val="50000"/>
              </a:schemeClr>
            </a:solidFill>
          </a:ln>
        </p:spPr>
      </p:pic>
      <p:sp>
        <p:nvSpPr>
          <p:cNvPr id="289" name="Google Shape;289;g143519c7921_0_87"/>
          <p:cNvSpPr/>
          <p:nvPr/>
        </p:nvSpPr>
        <p:spPr>
          <a:xfrm>
            <a:off x="4794734" y="5154249"/>
            <a:ext cx="154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93" name="Google Shape;293;g143519c7921_0_87"/>
          <p:cNvSpPr/>
          <p:nvPr/>
        </p:nvSpPr>
        <p:spPr>
          <a:xfrm>
            <a:off x="2625417" y="2681027"/>
            <a:ext cx="1548000" cy="8007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31"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4</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クレジットカード情報の入</a:t>
            </a:r>
            <a:r>
              <a:rPr lang="ja-JP" altLang="ja-JP" sz="3200" spc="-1250" dirty="0">
                <a:latin typeface="Meiryo"/>
                <a:ea typeface="Meiryo"/>
                <a:cs typeface="Meiryo"/>
                <a:sym typeface="Meiryo"/>
              </a:rPr>
              <a:t>力</a:t>
            </a:r>
            <a:r>
              <a:rPr lang="ja-JP" altLang="en-US" sz="3200" b="0" dirty="0">
                <a:sym typeface="Meiryo"/>
              </a:rPr>
              <a:t>［</a:t>
            </a:r>
            <a:r>
              <a:rPr lang="en-US" altLang="ja-JP" sz="3200" dirty="0">
                <a:latin typeface="Meiryo"/>
                <a:ea typeface="Meiryo"/>
                <a:cs typeface="Meiryo"/>
                <a:sym typeface="Meiryo"/>
              </a:rPr>
              <a:t>2</a:t>
            </a:r>
            <a:r>
              <a:rPr lang="ja-JP" altLang="en-US" sz="3200" b="0" dirty="0">
                <a:sym typeface="Meiryo"/>
              </a:rPr>
              <a:t>］</a:t>
            </a:r>
            <a:endParaRPr kumimoji="0" lang="ja-JP" altLang="en-US" sz="3200" b="0" kern="0" dirty="0"/>
          </a:p>
        </p:txBody>
      </p:sp>
      <p:grpSp>
        <p:nvGrpSpPr>
          <p:cNvPr id="32" name="図形グループ 31"/>
          <p:cNvGrpSpPr>
            <a:grpSpLocks noChangeAspect="1"/>
          </p:cNvGrpSpPr>
          <p:nvPr/>
        </p:nvGrpSpPr>
        <p:grpSpPr>
          <a:xfrm>
            <a:off x="4310195" y="3304349"/>
            <a:ext cx="360000" cy="270000"/>
            <a:chOff x="3355262" y="5469690"/>
            <a:chExt cx="720000" cy="540000"/>
          </a:xfrm>
        </p:grpSpPr>
        <p:cxnSp>
          <p:nvCxnSpPr>
            <p:cNvPr id="33" name="カギ線コネクタ 3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5" name="図形グループ 34"/>
          <p:cNvGrpSpPr>
            <a:grpSpLocks noChangeAspect="1"/>
          </p:cNvGrpSpPr>
          <p:nvPr/>
        </p:nvGrpSpPr>
        <p:grpSpPr>
          <a:xfrm>
            <a:off x="6476038" y="3304349"/>
            <a:ext cx="360000" cy="270000"/>
            <a:chOff x="3355262" y="5469690"/>
            <a:chExt cx="720000" cy="540000"/>
          </a:xfrm>
        </p:grpSpPr>
        <p:cxnSp>
          <p:nvCxnSpPr>
            <p:cNvPr id="36" name="カギ線コネクタ 35"/>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8" name="図形グループ 37"/>
          <p:cNvGrpSpPr/>
          <p:nvPr/>
        </p:nvGrpSpPr>
        <p:grpSpPr>
          <a:xfrm>
            <a:off x="6773726" y="1838534"/>
            <a:ext cx="296586" cy="293005"/>
            <a:chOff x="6801905" y="3995693"/>
            <a:chExt cx="296586" cy="293005"/>
          </a:xfrm>
        </p:grpSpPr>
        <p:sp>
          <p:nvSpPr>
            <p:cNvPr id="39" name="円/楕円 38"/>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図形グループ 40"/>
          <p:cNvGrpSpPr/>
          <p:nvPr/>
        </p:nvGrpSpPr>
        <p:grpSpPr>
          <a:xfrm>
            <a:off x="4646671" y="5005313"/>
            <a:ext cx="296586" cy="293005"/>
            <a:chOff x="5878361" y="3995693"/>
            <a:chExt cx="296586" cy="293005"/>
          </a:xfrm>
        </p:grpSpPr>
        <p:sp>
          <p:nvSpPr>
            <p:cNvPr id="42" name="円/楕円 41"/>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43"/>
          <p:cNvGrpSpPr/>
          <p:nvPr/>
        </p:nvGrpSpPr>
        <p:grpSpPr>
          <a:xfrm>
            <a:off x="2489727" y="2537595"/>
            <a:ext cx="296586" cy="293005"/>
            <a:chOff x="5101121" y="3995693"/>
            <a:chExt cx="296586" cy="293005"/>
          </a:xfrm>
        </p:grpSpPr>
        <p:sp>
          <p:nvSpPr>
            <p:cNvPr id="45" name="円/楕円 4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022</TotalTime>
  <Words>3160</Words>
  <Application>Microsoft Office PowerPoint</Application>
  <PresentationFormat>画面に合わせる (4:3)</PresentationFormat>
  <Paragraphs>607</Paragraphs>
  <Slides>45</Slides>
  <Notes>45</Notes>
  <HiddenSlides>0</HiddenSlides>
  <MMClips>0</MMClips>
  <ScaleCrop>false</ScaleCrop>
  <HeadingPairs>
    <vt:vector size="8" baseType="variant">
      <vt:variant>
        <vt:lpstr>使用されているフォント</vt:lpstr>
      </vt:variant>
      <vt:variant>
        <vt:i4>4</vt:i4>
      </vt:variant>
      <vt:variant>
        <vt:lpstr>テーマ</vt:lpstr>
      </vt:variant>
      <vt:variant>
        <vt:i4>2</vt:i4>
      </vt:variant>
      <vt:variant>
        <vt:lpstr>埋め込まれた OLE サーバー</vt:lpstr>
      </vt:variant>
      <vt:variant>
        <vt:i4>1</vt:i4>
      </vt:variant>
      <vt:variant>
        <vt:lpstr>スライド タイトル</vt:lpstr>
      </vt:variant>
      <vt:variant>
        <vt:i4>45</vt:i4>
      </vt:variant>
    </vt:vector>
  </HeadingPairs>
  <TitlesOfParts>
    <vt:vector size="52" baseType="lpstr">
      <vt:lpstr>Meiryo UI</vt:lpstr>
      <vt:lpstr>Meiryo</vt:lpstr>
      <vt:lpstr>Arial</vt:lpstr>
      <vt:lpstr>Calibri</vt:lpstr>
      <vt:lpstr>Office Theme</vt:lpstr>
      <vt:lpstr>1_Office Theme</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青木　沙絵(853953)社会システムコンサルティング部</dc:creator>
  <cp:lastModifiedBy>水口直子＊</cp:lastModifiedBy>
  <cp:revision>203</cp:revision>
  <dcterms:created xsi:type="dcterms:W3CDTF">2021-08-16T09:03:45Z</dcterms:created>
  <dcterms:modified xsi:type="dcterms:W3CDTF">2022-08-31T06:24:41Z</dcterms:modified>
</cp:coreProperties>
</file>